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2.xml" ContentType="application/vnd.openxmlformats-officedocument.presentationml.notesSlide+xml"/>
  <Override PartName="/ppt/comments/modernComment_10C_E30F44E0.xml" ContentType="application/vnd.ms-powerpoint.comments+xml"/>
  <Override PartName="/ppt/tags/tag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5"/>
  </p:sldMasterIdLst>
  <p:notesMasterIdLst>
    <p:notesMasterId r:id="rId15"/>
  </p:notesMasterIdLst>
  <p:sldIdLst>
    <p:sldId id="261" r:id="rId6"/>
    <p:sldId id="269" r:id="rId7"/>
    <p:sldId id="270" r:id="rId8"/>
    <p:sldId id="275" r:id="rId9"/>
    <p:sldId id="268" r:id="rId10"/>
    <p:sldId id="259" r:id="rId11"/>
    <p:sldId id="264" r:id="rId12"/>
    <p:sldId id="274" r:id="rId13"/>
    <p:sldId id="273" r:id="rId14"/>
  </p:sldIdLst>
  <p:sldSz cx="9144000" cy="5111750"/>
  <p:notesSz cx="14255750" cy="9774238"/>
  <p:custDataLst>
    <p:tags r:id="rId16"/>
  </p:custDataLst>
  <p:defaultTextStyle>
    <a:defPPr>
      <a:defRPr lang="nb-NO"/>
    </a:defPPr>
    <a:lvl1pPr marL="0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1pPr>
    <a:lvl2pPr marL="342123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2pPr>
    <a:lvl3pPr marL="684246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3pPr>
    <a:lvl4pPr marL="1026368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4pPr>
    <a:lvl5pPr marL="1368491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5pPr>
    <a:lvl6pPr marL="1710614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6pPr>
    <a:lvl7pPr marL="2052737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7pPr>
    <a:lvl8pPr marL="2394859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8pPr>
    <a:lvl9pPr marL="2736982" algn="l" defTabSz="684246" rtl="0" eaLnBrk="1" latinLnBrk="0" hangingPunct="1">
      <a:defRPr sz="1347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D7921274-A243-60C3-8DB0-D7227B1AC670}" name="Lars Tennbakk Bockman" initials="LB" userId="S::lars.bockman@fornybarnorge.no::5a235df0-e381-4c4c-99ce-24b4b21fb9d1" providerId="AD"/>
  <p188:author id="{5E3A118B-92BF-8F94-E3E6-76E6F07C9213}" name="Iselin Ekeli Rønningsbakk" initials="IR" userId="S::iselin.ronningsbakk@fornybarnorge.no::187300ae-9cb6-416d-8a94-664ca977a24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7543D"/>
    <a:srgbClr val="8A00FA"/>
    <a:srgbClr val="E6D1FF"/>
    <a:srgbClr val="5F00C2"/>
    <a:srgbClr val="80F1CB"/>
    <a:srgbClr val="4BF0C5"/>
    <a:srgbClr val="00583C"/>
    <a:srgbClr val="8C00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982F088-28B0-44E7-A540-057AB14E26F1}" v="1" dt="2024-05-13T09:04:11.853"/>
    <p1510:client id="{BEBA20C9-0E5E-4395-BCBC-0549F97599C0}" v="1" dt="2024-05-13T07:44:11.95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25E5076-3810-47DD-B79F-674D7AD40C01}" styleName="Mørk stil 1 – utheving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Mørk stil 1 – utheving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D03447BB-5D67-496B-8E87-E561075AD55C}" styleName="Mørk stil 1 – utheving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8FD4443E-F989-4FC4-A0C8-D5A2AF1F390B}" styleName="Mørk stil 1 – utheving 5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wholeTbl>
    <a:band1H>
      <a:tcStyle>
        <a:tcBdr/>
        <a:fill>
          <a:solidFill>
            <a:schemeClr val="accent5">
              <a:shade val="60000"/>
            </a:schemeClr>
          </a:solidFill>
        </a:fill>
      </a:tcStyle>
    </a:band1H>
    <a:band1V>
      <a:tcStyle>
        <a:tcBdr/>
        <a:fill>
          <a:solidFill>
            <a:schemeClr val="accent5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5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5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5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7DF18680-E054-41AD-8BC1-D1AEF772440D}" styleName="Middels stil 2 – utheving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27F97BB-C833-4FB7-BDE5-3F7075034690}" styleName="Temastil 2 – utheving 5">
    <a:tblBg>
      <a:fillRef idx="3">
        <a:schemeClr val="accent5"/>
      </a:fillRef>
      <a:effectRef idx="3">
        <a:schemeClr val="accent5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5">
                <a:tint val="50000"/>
              </a:schemeClr>
            </a:lnRef>
          </a:left>
          <a:right>
            <a:lnRef idx="1">
              <a:schemeClr val="accent5">
                <a:tint val="50000"/>
              </a:schemeClr>
            </a:lnRef>
          </a:right>
          <a:top>
            <a:lnRef idx="1">
              <a:schemeClr val="accent5">
                <a:tint val="50000"/>
              </a:schemeClr>
            </a:lnRef>
          </a:top>
          <a:bottom>
            <a:lnRef idx="1">
              <a:schemeClr val="accent5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D113A9D2-9D6B-4929-AA2D-F23B5EE8CBE7}" styleName="Temastil 2 – utheving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0E3FDE45-AF77-4B5C-9715-49D594BDF05E}" styleName="Lys stil 1 – utheving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8A107856-5554-42FB-B03E-39F5DBC370BA}" styleName="Middels stil 4 – utheving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  <a:tblStyle styleId="{FABFCF23-3B69-468F-B69F-88F6DE6A72F2}" styleName="Middels stil 1 – utheving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74C1A8A3-306A-4EB7-A6B1-4F7E0EB9C5D6}" styleName="Middels stil 3 – utheving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microsoft.com/office/2016/11/relationships/changesInfo" Target="changesInfos/changesInfo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tags" Target="tags/tag1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notesMaster" Target="notesMasters/notesMaster1.xml"/><Relationship Id="rId23" Type="http://schemas.microsoft.com/office/2018/10/relationships/authors" Target="authors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microsoft.com/office/2015/10/relationships/revisionInfo" Target="revisionInfo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clId="Web-{7492D111-7293-4795-8678-B3671B4EF338}"/>
    <pc:docChg chg="">
      <pc:chgData name="" userId="" providerId="" clId="Web-{7492D111-7293-4795-8678-B3671B4EF338}" dt="2024-04-11T13:36:34.845" v="0"/>
      <pc:docMkLst>
        <pc:docMk/>
      </pc:docMkLst>
      <pc:sldChg chg="modCm">
        <pc:chgData name="" userId="" providerId="" clId="Web-{7492D111-7293-4795-8678-B3671B4EF338}" dt="2024-04-11T13:36:34.845" v="0"/>
        <pc:sldMkLst>
          <pc:docMk/>
          <pc:sldMk cId="1400664593" sldId="275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" userId="" providerId="" clId="Web-{7492D111-7293-4795-8678-B3671B4EF338}" dt="2024-04-11T13:36:34.845" v="0"/>
              <pc2:cmMkLst xmlns:pc2="http://schemas.microsoft.com/office/powerpoint/2019/9/main/command">
                <pc:docMk/>
                <pc:sldMk cId="1400664593" sldId="275"/>
                <pc2:cmMk id="{88310999-6D15-4D15-AFB5-1F5C87EC1C7F}"/>
              </pc2:cmMkLst>
              <pc226:cmRplyChg chg="add">
                <pc226:chgData name="" userId="" providerId="" clId="Web-{7492D111-7293-4795-8678-B3671B4EF338}" dt="2024-04-11T13:36:34.845" v="0"/>
                <pc2:cmRplyMkLst xmlns:pc2="http://schemas.microsoft.com/office/powerpoint/2019/9/main/command">
                  <pc:docMk/>
                  <pc:sldMk cId="1400664593" sldId="275"/>
                  <pc2:cmMk id="{88310999-6D15-4D15-AFB5-1F5C87EC1C7F}"/>
                  <pc2:cmRplyMk id="{F3B0DD81-2270-4688-A805-B32DEDF7D9ED}"/>
                </pc2:cmRplyMkLst>
              </pc226:cmRplyChg>
            </pc226:cmChg>
          </p:ext>
        </pc:extLst>
      </pc:sldChg>
    </pc:docChg>
  </pc:docChgLst>
  <pc:docChgLst>
    <pc:chgData name="Iselin Ekeli Rønningsbakk" userId="187300ae-9cb6-416d-8a94-664ca977a24d" providerId="ADAL" clId="{B4E5B0F8-0B27-4C7F-AC1B-93663567327F}"/>
    <pc:docChg chg="modSld">
      <pc:chgData name="Iselin Ekeli Rønningsbakk" userId="187300ae-9cb6-416d-8a94-664ca977a24d" providerId="ADAL" clId="{B4E5B0F8-0B27-4C7F-AC1B-93663567327F}" dt="2024-04-12T09:21:55.420" v="1301"/>
      <pc:docMkLst>
        <pc:docMk/>
      </pc:docMkLst>
      <pc:sldChg chg="modSp mod modCm">
        <pc:chgData name="Iselin Ekeli Rønningsbakk" userId="187300ae-9cb6-416d-8a94-664ca977a24d" providerId="ADAL" clId="{B4E5B0F8-0B27-4C7F-AC1B-93663567327F}" dt="2024-04-12T09:18:23.655" v="1124" actId="14100"/>
        <pc:sldMkLst>
          <pc:docMk/>
          <pc:sldMk cId="964345901" sldId="269"/>
        </pc:sldMkLst>
        <pc:spChg chg="mod">
          <ac:chgData name="Iselin Ekeli Rønningsbakk" userId="187300ae-9cb6-416d-8a94-664ca977a24d" providerId="ADAL" clId="{B4E5B0F8-0B27-4C7F-AC1B-93663567327F}" dt="2024-04-12T09:18:23.655" v="1124" actId="14100"/>
          <ac:spMkLst>
            <pc:docMk/>
            <pc:sldMk cId="964345901" sldId="269"/>
            <ac:spMk id="15" creationId="{04DCDA78-71F1-811A-A7B3-AF6C80100E58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Iselin Ekeli Rønningsbakk" userId="187300ae-9cb6-416d-8a94-664ca977a24d" providerId="ADAL" clId="{B4E5B0F8-0B27-4C7F-AC1B-93663567327F}" dt="2024-04-12T09:18:13.939" v="1123" actId="6549"/>
              <pc2:cmMkLst xmlns:pc2="http://schemas.microsoft.com/office/powerpoint/2019/9/main/command">
                <pc:docMk/>
                <pc:sldMk cId="964345901" sldId="269"/>
                <pc2:cmMk id="{9A5C4123-9DEB-4AB8-94A5-0C33A2F94B75}"/>
              </pc2:cmMkLst>
            </pc226:cmChg>
          </p:ext>
        </pc:extLst>
      </pc:sldChg>
      <pc:sldChg chg="modSp mod">
        <pc:chgData name="Iselin Ekeli Rønningsbakk" userId="187300ae-9cb6-416d-8a94-664ca977a24d" providerId="ADAL" clId="{B4E5B0F8-0B27-4C7F-AC1B-93663567327F}" dt="2024-04-12T09:21:09.545" v="1287" actId="20577"/>
        <pc:sldMkLst>
          <pc:docMk/>
          <pc:sldMk cId="4275014000" sldId="270"/>
        </pc:sldMkLst>
        <pc:spChg chg="mod">
          <ac:chgData name="Iselin Ekeli Rønningsbakk" userId="187300ae-9cb6-416d-8a94-664ca977a24d" providerId="ADAL" clId="{B4E5B0F8-0B27-4C7F-AC1B-93663567327F}" dt="2024-04-12T09:21:09.545" v="1287" actId="20577"/>
          <ac:spMkLst>
            <pc:docMk/>
            <pc:sldMk cId="4275014000" sldId="270"/>
            <ac:spMk id="14" creationId="{21531C8D-908F-3C5D-76AA-208A0DF8D559}"/>
          </ac:spMkLst>
        </pc:spChg>
      </pc:sldChg>
      <pc:sldChg chg="modSp mod delCm modCm">
        <pc:chgData name="Iselin Ekeli Rønningsbakk" userId="187300ae-9cb6-416d-8a94-664ca977a24d" providerId="ADAL" clId="{B4E5B0F8-0B27-4C7F-AC1B-93663567327F}" dt="2024-04-12T09:21:55.420" v="1301"/>
        <pc:sldMkLst>
          <pc:docMk/>
          <pc:sldMk cId="1400664593" sldId="275"/>
        </pc:sldMkLst>
        <pc:spChg chg="mod">
          <ac:chgData name="Iselin Ekeli Rønningsbakk" userId="187300ae-9cb6-416d-8a94-664ca977a24d" providerId="ADAL" clId="{B4E5B0F8-0B27-4C7F-AC1B-93663567327F}" dt="2024-04-12T09:21:48.592" v="1299" actId="6549"/>
          <ac:spMkLst>
            <pc:docMk/>
            <pc:sldMk cId="1400664593" sldId="275"/>
            <ac:spMk id="13" creationId="{D3816D81-2F0C-5C31-0215-8B391B6646ED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 mod modRxn">
              <pc226:chgData name="Iselin Ekeli Rønningsbakk" userId="187300ae-9cb6-416d-8a94-664ca977a24d" providerId="ADAL" clId="{B4E5B0F8-0B27-4C7F-AC1B-93663567327F}" dt="2024-04-12T09:21:55.420" v="1301"/>
              <pc2:cmMkLst xmlns:pc2="http://schemas.microsoft.com/office/powerpoint/2019/9/main/command">
                <pc:docMk/>
                <pc:sldMk cId="1400664593" sldId="275"/>
                <pc2:cmMk id="{88310999-6D15-4D15-AFB5-1F5C87EC1C7F}"/>
              </pc2:cmMkLst>
            </pc226:cmChg>
          </p:ext>
        </pc:extLst>
      </pc:sldChg>
    </pc:docChg>
  </pc:docChgLst>
  <pc:docChgLst>
    <pc:chgData name="Lars Tennbakk Bockman" userId="S::lars.bockman@fornybarnorge.no::5a235df0-e381-4c4c-99ce-24b4b21fb9d1" providerId="AD" clId="Web-{49FDBC75-4CCE-CB32-F36A-1DA4126E09D9}"/>
    <pc:docChg chg="modSld">
      <pc:chgData name="Lars Tennbakk Bockman" userId="S::lars.bockman@fornybarnorge.no::5a235df0-e381-4c4c-99ce-24b4b21fb9d1" providerId="AD" clId="Web-{49FDBC75-4CCE-CB32-F36A-1DA4126E09D9}" dt="2024-04-03T08:36:42.371" v="1" actId="20577"/>
      <pc:docMkLst>
        <pc:docMk/>
      </pc:docMkLst>
      <pc:sldChg chg="modSp">
        <pc:chgData name="Lars Tennbakk Bockman" userId="S::lars.bockman@fornybarnorge.no::5a235df0-e381-4c4c-99ce-24b4b21fb9d1" providerId="AD" clId="Web-{49FDBC75-4CCE-CB32-F36A-1DA4126E09D9}" dt="2024-04-03T08:36:42.371" v="1" actId="20577"/>
        <pc:sldMkLst>
          <pc:docMk/>
          <pc:sldMk cId="3149972175" sldId="261"/>
        </pc:sldMkLst>
        <pc:spChg chg="mod">
          <ac:chgData name="Lars Tennbakk Bockman" userId="S::lars.bockman@fornybarnorge.no::5a235df0-e381-4c4c-99ce-24b4b21fb9d1" providerId="AD" clId="Web-{49FDBC75-4CCE-CB32-F36A-1DA4126E09D9}" dt="2024-04-03T08:36:42.371" v="1" actId="20577"/>
          <ac:spMkLst>
            <pc:docMk/>
            <pc:sldMk cId="3149972175" sldId="261"/>
            <ac:spMk id="2" creationId="{EB808BFC-B71A-C9E5-5827-2A0376474563}"/>
          </ac:spMkLst>
        </pc:spChg>
      </pc:sldChg>
    </pc:docChg>
  </pc:docChgLst>
  <pc:docChgLst>
    <pc:chgData name="Lars Tennbakk Bockman" userId="5a235df0-e381-4c4c-99ce-24b4b21fb9d1" providerId="ADAL" clId="{BEBA20C9-0E5E-4395-BCBC-0549F97599C0}"/>
    <pc:docChg chg="modSld">
      <pc:chgData name="Lars Tennbakk Bockman" userId="5a235df0-e381-4c4c-99ce-24b4b21fb9d1" providerId="ADAL" clId="{BEBA20C9-0E5E-4395-BCBC-0549F97599C0}" dt="2024-05-13T07:45:51.413" v="6"/>
      <pc:docMkLst>
        <pc:docMk/>
      </pc:docMkLst>
      <pc:sldChg chg="modSp">
        <pc:chgData name="Lars Tennbakk Bockman" userId="5a235df0-e381-4c4c-99ce-24b4b21fb9d1" providerId="ADAL" clId="{BEBA20C9-0E5E-4395-BCBC-0549F97599C0}" dt="2024-05-13T07:44:11.953" v="0" actId="14826"/>
        <pc:sldMkLst>
          <pc:docMk/>
          <pc:sldMk cId="3149972175" sldId="261"/>
        </pc:sldMkLst>
        <pc:picChg chg="mod">
          <ac:chgData name="Lars Tennbakk Bockman" userId="5a235df0-e381-4c4c-99ce-24b4b21fb9d1" providerId="ADAL" clId="{BEBA20C9-0E5E-4395-BCBC-0549F97599C0}" dt="2024-05-13T07:44:11.953" v="0" actId="14826"/>
          <ac:picMkLst>
            <pc:docMk/>
            <pc:sldMk cId="3149972175" sldId="261"/>
            <ac:picMk id="8" creationId="{8024784E-B6AC-28D7-0AB0-ADE7E934E7A1}"/>
          </ac:picMkLst>
        </pc:picChg>
      </pc:sldChg>
      <pc:sldChg chg="modCm">
        <pc:chgData name="Lars Tennbakk Bockman" userId="5a235df0-e381-4c4c-99ce-24b4b21fb9d1" providerId="ADAL" clId="{BEBA20C9-0E5E-4395-BCBC-0549F97599C0}" dt="2024-05-13T07:45:51.413" v="6"/>
        <pc:sldMkLst>
          <pc:docMk/>
          <pc:sldMk cId="3809428704" sldId="268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">
              <pc226:chgData name="Lars Tennbakk Bockman" userId="5a235df0-e381-4c4c-99ce-24b4b21fb9d1" providerId="ADAL" clId="{BEBA20C9-0E5E-4395-BCBC-0549F97599C0}" dt="2024-05-13T07:45:51.413" v="6"/>
              <pc2:cmMkLst xmlns:pc2="http://schemas.microsoft.com/office/powerpoint/2019/9/main/command">
                <pc:docMk/>
                <pc:sldMk cId="3809428704" sldId="268"/>
                <pc2:cmMk id="{97225C20-E4DC-4851-AA9D-66978ACF5BAB}"/>
              </pc2:cmMkLst>
              <pc226:cmRplyChg chg="add">
                <pc226:chgData name="Lars Tennbakk Bockman" userId="5a235df0-e381-4c4c-99ce-24b4b21fb9d1" providerId="ADAL" clId="{BEBA20C9-0E5E-4395-BCBC-0549F97599C0}" dt="2024-05-13T07:45:51.413" v="6"/>
                <pc2:cmRplyMkLst xmlns:pc2="http://schemas.microsoft.com/office/powerpoint/2019/9/main/command">
                  <pc:docMk/>
                  <pc:sldMk cId="3809428704" sldId="268"/>
                  <pc2:cmMk id="{97225C20-E4DC-4851-AA9D-66978ACF5BAB}"/>
                  <pc2:cmRplyMk id="{18A6AE06-4812-45F8-A912-92D8A8CB7EBF}"/>
                </pc2:cmRplyMkLst>
              </pc226:cmRplyChg>
            </pc226:cmChg>
          </p:ext>
        </pc:extLst>
      </pc:sldChg>
      <pc:sldChg chg="modSp mod">
        <pc:chgData name="Lars Tennbakk Bockman" userId="5a235df0-e381-4c4c-99ce-24b4b21fb9d1" providerId="ADAL" clId="{BEBA20C9-0E5E-4395-BCBC-0549F97599C0}" dt="2024-05-13T07:44:44.288" v="5" actId="20577"/>
        <pc:sldMkLst>
          <pc:docMk/>
          <pc:sldMk cId="1400664593" sldId="275"/>
        </pc:sldMkLst>
        <pc:spChg chg="mod">
          <ac:chgData name="Lars Tennbakk Bockman" userId="5a235df0-e381-4c4c-99ce-24b4b21fb9d1" providerId="ADAL" clId="{BEBA20C9-0E5E-4395-BCBC-0549F97599C0}" dt="2024-05-13T07:44:44.288" v="5" actId="20577"/>
          <ac:spMkLst>
            <pc:docMk/>
            <pc:sldMk cId="1400664593" sldId="275"/>
            <ac:spMk id="13" creationId="{D3816D81-2F0C-5C31-0215-8B391B6646ED}"/>
          </ac:spMkLst>
        </pc:spChg>
      </pc:sldChg>
    </pc:docChg>
  </pc:docChgLst>
  <pc:docChgLst>
    <pc:chgData name="Lars Tennbakk Bockman" userId="5a235df0-e381-4c4c-99ce-24b4b21fb9d1" providerId="ADAL" clId="{83B02544-0F5E-4C44-B18B-AC7E10D8800E}"/>
    <pc:docChg chg="undo custSel modSld replTag">
      <pc:chgData name="Lars Tennbakk Bockman" userId="5a235df0-e381-4c4c-99ce-24b4b21fb9d1" providerId="ADAL" clId="{83B02544-0F5E-4C44-B18B-AC7E10D8800E}" dt="2024-04-04T08:15:12.655" v="2738" actId="13926"/>
      <pc:docMkLst>
        <pc:docMk/>
      </pc:docMkLst>
      <pc:sldChg chg="modSp mod delCm">
        <pc:chgData name="Lars Tennbakk Bockman" userId="5a235df0-e381-4c4c-99ce-24b4b21fb9d1" providerId="ADAL" clId="{83B02544-0F5E-4C44-B18B-AC7E10D8800E}" dt="2024-04-04T08:15:12.655" v="2738" actId="13926"/>
        <pc:sldMkLst>
          <pc:docMk/>
          <pc:sldMk cId="4148148830" sldId="259"/>
        </pc:sldMkLst>
        <pc:spChg chg="mod">
          <ac:chgData name="Lars Tennbakk Bockman" userId="5a235df0-e381-4c4c-99ce-24b4b21fb9d1" providerId="ADAL" clId="{83B02544-0F5E-4C44-B18B-AC7E10D8800E}" dt="2024-04-04T08:15:12.655" v="2738" actId="13926"/>
          <ac:spMkLst>
            <pc:docMk/>
            <pc:sldMk cId="4148148830" sldId="259"/>
            <ac:spMk id="4" creationId="{02B670F3-F503-EDCF-4447-49EB9200B55E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Lars Tennbakk Bockman" userId="5a235df0-e381-4c4c-99ce-24b4b21fb9d1" providerId="ADAL" clId="{83B02544-0F5E-4C44-B18B-AC7E10D8800E}" dt="2024-04-03T08:49:57.781" v="9"/>
              <pc2:cmMkLst xmlns:pc2="http://schemas.microsoft.com/office/powerpoint/2019/9/main/command">
                <pc:docMk/>
                <pc:sldMk cId="4148148830" sldId="259"/>
                <pc2:cmMk id="{5A7F3826-50B9-4FC9-9604-5B3829FA2F20}"/>
              </pc2:cmMkLst>
            </pc226:cmChg>
          </p:ext>
        </pc:extLst>
      </pc:sldChg>
      <pc:sldChg chg="addSp delSp modSp mod">
        <pc:chgData name="Lars Tennbakk Bockman" userId="5a235df0-e381-4c4c-99ce-24b4b21fb9d1" providerId="ADAL" clId="{83B02544-0F5E-4C44-B18B-AC7E10D8800E}" dt="2024-04-03T13:41:21.370" v="2735" actId="1076"/>
        <pc:sldMkLst>
          <pc:docMk/>
          <pc:sldMk cId="3149972175" sldId="261"/>
        </pc:sldMkLst>
        <pc:spChg chg="mod">
          <ac:chgData name="Lars Tennbakk Bockman" userId="5a235df0-e381-4c4c-99ce-24b4b21fb9d1" providerId="ADAL" clId="{83B02544-0F5E-4C44-B18B-AC7E10D8800E}" dt="2024-04-03T13:38:57.537" v="2720" actId="20577"/>
          <ac:spMkLst>
            <pc:docMk/>
            <pc:sldMk cId="3149972175" sldId="261"/>
            <ac:spMk id="15" creationId="{71CD328A-FCBF-98DB-A3A2-36A13A7E9980}"/>
          </ac:spMkLst>
        </pc:spChg>
        <pc:picChg chg="add del mod">
          <ac:chgData name="Lars Tennbakk Bockman" userId="5a235df0-e381-4c4c-99ce-24b4b21fb9d1" providerId="ADAL" clId="{83B02544-0F5E-4C44-B18B-AC7E10D8800E}" dt="2024-04-03T13:40:13.300" v="2726" actId="478"/>
          <ac:picMkLst>
            <pc:docMk/>
            <pc:sldMk cId="3149972175" sldId="261"/>
            <ac:picMk id="4" creationId="{34A9B103-504B-3B89-677B-A43F0D78BCFE}"/>
          </ac:picMkLst>
        </pc:picChg>
        <pc:picChg chg="mod">
          <ac:chgData name="Lars Tennbakk Bockman" userId="5a235df0-e381-4c4c-99ce-24b4b21fb9d1" providerId="ADAL" clId="{83B02544-0F5E-4C44-B18B-AC7E10D8800E}" dt="2024-04-03T13:41:15.116" v="2732" actId="1076"/>
          <ac:picMkLst>
            <pc:docMk/>
            <pc:sldMk cId="3149972175" sldId="261"/>
            <ac:picMk id="9" creationId="{44CEDB3C-E57F-F323-62AD-0E388B9FAAD8}"/>
          </ac:picMkLst>
        </pc:picChg>
        <pc:picChg chg="add mod">
          <ac:chgData name="Lars Tennbakk Bockman" userId="5a235df0-e381-4c4c-99ce-24b4b21fb9d1" providerId="ADAL" clId="{83B02544-0F5E-4C44-B18B-AC7E10D8800E}" dt="2024-04-03T13:41:21.370" v="2735" actId="1076"/>
          <ac:picMkLst>
            <pc:docMk/>
            <pc:sldMk cId="3149972175" sldId="261"/>
            <ac:picMk id="10" creationId="{607CFFAC-59AF-1273-0123-E7F3000E72DF}"/>
          </ac:picMkLst>
        </pc:picChg>
      </pc:sldChg>
      <pc:sldChg chg="modSp mod">
        <pc:chgData name="Lars Tennbakk Bockman" userId="5a235df0-e381-4c4c-99ce-24b4b21fb9d1" providerId="ADAL" clId="{83B02544-0F5E-4C44-B18B-AC7E10D8800E}" dt="2024-04-04T08:15:03.520" v="2737" actId="13926"/>
        <pc:sldMkLst>
          <pc:docMk/>
          <pc:sldMk cId="3809428704" sldId="268"/>
        </pc:sldMkLst>
        <pc:spChg chg="mod">
          <ac:chgData name="Lars Tennbakk Bockman" userId="5a235df0-e381-4c4c-99ce-24b4b21fb9d1" providerId="ADAL" clId="{83B02544-0F5E-4C44-B18B-AC7E10D8800E}" dt="2024-04-03T13:01:29.054" v="2459" actId="313"/>
          <ac:spMkLst>
            <pc:docMk/>
            <pc:sldMk cId="3809428704" sldId="268"/>
            <ac:spMk id="3" creationId="{8A3EFEB1-D7F7-A46E-7DED-AE462CEAB1A0}"/>
          </ac:spMkLst>
        </pc:spChg>
        <pc:spChg chg="mod">
          <ac:chgData name="Lars Tennbakk Bockman" userId="5a235df0-e381-4c4c-99ce-24b4b21fb9d1" providerId="ADAL" clId="{83B02544-0F5E-4C44-B18B-AC7E10D8800E}" dt="2024-04-04T08:15:03.520" v="2737" actId="13926"/>
          <ac:spMkLst>
            <pc:docMk/>
            <pc:sldMk cId="3809428704" sldId="268"/>
            <ac:spMk id="4" creationId="{D1901E2F-AFF3-2F50-C7AA-0E8DFCDE0BD5}"/>
          </ac:spMkLst>
        </pc:spChg>
      </pc:sldChg>
      <pc:sldChg chg="addSp delSp modSp mod delCm">
        <pc:chgData name="Lars Tennbakk Bockman" userId="5a235df0-e381-4c4c-99ce-24b4b21fb9d1" providerId="ADAL" clId="{83B02544-0F5E-4C44-B18B-AC7E10D8800E}" dt="2024-04-03T09:02:11.125" v="958" actId="20577"/>
        <pc:sldMkLst>
          <pc:docMk/>
          <pc:sldMk cId="964345901" sldId="269"/>
        </pc:sldMkLst>
        <pc:spChg chg="add del mod modVis">
          <ac:chgData name="Lars Tennbakk Bockman" userId="5a235df0-e381-4c4c-99ce-24b4b21fb9d1" providerId="ADAL" clId="{83B02544-0F5E-4C44-B18B-AC7E10D8800E}" dt="2024-04-03T08:51:36.224" v="52"/>
          <ac:spMkLst>
            <pc:docMk/>
            <pc:sldMk cId="964345901" sldId="269"/>
            <ac:spMk id="6" creationId="{57649461-4C72-D0CD-4871-65271E2C477A}"/>
          </ac:spMkLst>
        </pc:spChg>
        <pc:spChg chg="add del mod modVis">
          <ac:chgData name="Lars Tennbakk Bockman" userId="5a235df0-e381-4c4c-99ce-24b4b21fb9d1" providerId="ADAL" clId="{83B02544-0F5E-4C44-B18B-AC7E10D8800E}" dt="2024-04-03T08:51:37.020" v="79"/>
          <ac:spMkLst>
            <pc:docMk/>
            <pc:sldMk cId="964345901" sldId="269"/>
            <ac:spMk id="8" creationId="{119F34B7-E81D-6BCF-E614-8BAABC1784A7}"/>
          </ac:spMkLst>
        </pc:spChg>
        <pc:spChg chg="mod">
          <ac:chgData name="Lars Tennbakk Bockman" userId="5a235df0-e381-4c4c-99ce-24b4b21fb9d1" providerId="ADAL" clId="{83B02544-0F5E-4C44-B18B-AC7E10D8800E}" dt="2024-04-03T08:51:36.988" v="56" actId="948"/>
          <ac:spMkLst>
            <pc:docMk/>
            <pc:sldMk cId="964345901" sldId="269"/>
            <ac:spMk id="11" creationId="{C9D230B1-551A-0E7A-96AB-ADE59A906758}"/>
          </ac:spMkLst>
        </pc:spChg>
        <pc:spChg chg="mod">
          <ac:chgData name="Lars Tennbakk Bockman" userId="5a235df0-e381-4c4c-99ce-24b4b21fb9d1" providerId="ADAL" clId="{83B02544-0F5E-4C44-B18B-AC7E10D8800E}" dt="2024-04-03T09:02:11.125" v="958" actId="20577"/>
          <ac:spMkLst>
            <pc:docMk/>
            <pc:sldMk cId="964345901" sldId="269"/>
            <ac:spMk id="15" creationId="{04DCDA78-71F1-811A-A7B3-AF6C80100E58}"/>
          </ac:spMkLst>
        </pc:spChg>
        <pc:graphicFrameChg chg="mod">
          <ac:chgData name="Lars Tennbakk Bockman" userId="5a235df0-e381-4c4c-99ce-24b4b21fb9d1" providerId="ADAL" clId="{83B02544-0F5E-4C44-B18B-AC7E10D8800E}" dt="2024-04-03T08:51:37.020" v="81"/>
          <ac:graphicFrameMkLst>
            <pc:docMk/>
            <pc:sldMk cId="964345901" sldId="269"/>
            <ac:graphicFrameMk id="7" creationId="{4079E723-2D8B-9E39-E93A-0F21F77BD225}"/>
          </ac:graphicFrameMkLst>
        </pc:graphicFrameChg>
        <pc:picChg chg="mod">
          <ac:chgData name="Lars Tennbakk Bockman" userId="5a235df0-e381-4c4c-99ce-24b4b21fb9d1" providerId="ADAL" clId="{83B02544-0F5E-4C44-B18B-AC7E10D8800E}" dt="2024-04-03T08:39:44.159" v="1" actId="1076"/>
          <ac:picMkLst>
            <pc:docMk/>
            <pc:sldMk cId="964345901" sldId="269"/>
            <ac:picMk id="4" creationId="{F1209CBB-C9AB-BA6E-3FAE-5B8063D6E61B}"/>
          </ac:picMkLst>
        </pc:picChg>
        <pc:picChg chg="mod">
          <ac:chgData name="Lars Tennbakk Bockman" userId="5a235df0-e381-4c4c-99ce-24b4b21fb9d1" providerId="ADAL" clId="{83B02544-0F5E-4C44-B18B-AC7E10D8800E}" dt="2024-04-03T08:42:16.416" v="4" actId="14826"/>
          <ac:picMkLst>
            <pc:docMk/>
            <pc:sldMk cId="964345901" sldId="269"/>
            <ac:picMk id="19" creationId="{48D81E10-A362-0BE0-5A29-09482A073F28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Lars Tennbakk Bockman" userId="5a235df0-e381-4c4c-99ce-24b4b21fb9d1" providerId="ADAL" clId="{83B02544-0F5E-4C44-B18B-AC7E10D8800E}" dt="2024-04-03T08:44:17.590" v="7"/>
              <pc2:cmMkLst xmlns:pc2="http://schemas.microsoft.com/office/powerpoint/2019/9/main/command">
                <pc:docMk/>
                <pc:sldMk cId="964345901" sldId="269"/>
                <pc2:cmMk id="{36AD1E02-777A-4674-915A-35C4F571E648}"/>
              </pc2:cmMkLst>
            </pc226:cmChg>
          </p:ext>
        </pc:extLst>
      </pc:sldChg>
      <pc:sldChg chg="addSp delSp modSp mod">
        <pc:chgData name="Lars Tennbakk Bockman" userId="5a235df0-e381-4c4c-99ce-24b4b21fb9d1" providerId="ADAL" clId="{83B02544-0F5E-4C44-B18B-AC7E10D8800E}" dt="2024-04-03T09:04:38.135" v="1105" actId="13926"/>
        <pc:sldMkLst>
          <pc:docMk/>
          <pc:sldMk cId="4275014000" sldId="270"/>
        </pc:sldMkLst>
        <pc:spChg chg="add del mod modVis">
          <ac:chgData name="Lars Tennbakk Bockman" userId="5a235df0-e381-4c4c-99ce-24b4b21fb9d1" providerId="ADAL" clId="{83B02544-0F5E-4C44-B18B-AC7E10D8800E}" dt="2024-04-03T08:51:40.335" v="109"/>
          <ac:spMkLst>
            <pc:docMk/>
            <pc:sldMk cId="4275014000" sldId="270"/>
            <ac:spMk id="8" creationId="{2FDB3323-3FD3-E503-5B34-0011550307F3}"/>
          </ac:spMkLst>
        </pc:spChg>
        <pc:spChg chg="mod">
          <ac:chgData name="Lars Tennbakk Bockman" userId="5a235df0-e381-4c4c-99ce-24b4b21fb9d1" providerId="ADAL" clId="{83B02544-0F5E-4C44-B18B-AC7E10D8800E}" dt="2024-04-03T08:51:40.322" v="86" actId="948"/>
          <ac:spMkLst>
            <pc:docMk/>
            <pc:sldMk cId="4275014000" sldId="270"/>
            <ac:spMk id="11" creationId="{C9D230B1-551A-0E7A-96AB-ADE59A906758}"/>
          </ac:spMkLst>
        </pc:spChg>
        <pc:spChg chg="mod">
          <ac:chgData name="Lars Tennbakk Bockman" userId="5a235df0-e381-4c4c-99ce-24b4b21fb9d1" providerId="ADAL" clId="{83B02544-0F5E-4C44-B18B-AC7E10D8800E}" dt="2024-04-03T09:04:38.135" v="1105" actId="13926"/>
          <ac:spMkLst>
            <pc:docMk/>
            <pc:sldMk cId="4275014000" sldId="270"/>
            <ac:spMk id="14" creationId="{21531C8D-908F-3C5D-76AA-208A0DF8D559}"/>
          </ac:spMkLst>
        </pc:spChg>
        <pc:graphicFrameChg chg="mod">
          <ac:chgData name="Lars Tennbakk Bockman" userId="5a235df0-e381-4c4c-99ce-24b4b21fb9d1" providerId="ADAL" clId="{83B02544-0F5E-4C44-B18B-AC7E10D8800E}" dt="2024-04-03T08:51:40.335" v="111"/>
          <ac:graphicFrameMkLst>
            <pc:docMk/>
            <pc:sldMk cId="4275014000" sldId="270"/>
            <ac:graphicFrameMk id="9" creationId="{9A0A2B6D-88E9-5295-3A1E-C54929634722}"/>
          </ac:graphicFrameMkLst>
        </pc:graphicFrameChg>
        <pc:picChg chg="mod">
          <ac:chgData name="Lars Tennbakk Bockman" userId="5a235df0-e381-4c4c-99ce-24b4b21fb9d1" providerId="ADAL" clId="{83B02544-0F5E-4C44-B18B-AC7E10D8800E}" dt="2024-04-03T08:42:23.531" v="5" actId="14826"/>
          <ac:picMkLst>
            <pc:docMk/>
            <pc:sldMk cId="4275014000" sldId="270"/>
            <ac:picMk id="4" creationId="{333A123B-CC7B-438C-45B1-FD90C4A986EA}"/>
          </ac:picMkLst>
        </pc:picChg>
        <pc:picChg chg="mod">
          <ac:chgData name="Lars Tennbakk Bockman" userId="5a235df0-e381-4c4c-99ce-24b4b21fb9d1" providerId="ADAL" clId="{83B02544-0F5E-4C44-B18B-AC7E10D8800E}" dt="2024-04-03T08:44:00.554" v="6" actId="14826"/>
          <ac:picMkLst>
            <pc:docMk/>
            <pc:sldMk cId="4275014000" sldId="270"/>
            <ac:picMk id="6" creationId="{E247D54D-3951-79FF-87AE-26509570666F}"/>
          </ac:picMkLst>
        </pc:picChg>
      </pc:sldChg>
      <pc:sldChg chg="modSp mod">
        <pc:chgData name="Lars Tennbakk Bockman" userId="5a235df0-e381-4c4c-99ce-24b4b21fb9d1" providerId="ADAL" clId="{83B02544-0F5E-4C44-B18B-AC7E10D8800E}" dt="2024-04-03T12:49:44.363" v="1119" actId="20577"/>
        <pc:sldMkLst>
          <pc:docMk/>
          <pc:sldMk cId="1400664593" sldId="275"/>
        </pc:sldMkLst>
        <pc:spChg chg="mod">
          <ac:chgData name="Lars Tennbakk Bockman" userId="5a235df0-e381-4c4c-99ce-24b4b21fb9d1" providerId="ADAL" clId="{83B02544-0F5E-4C44-B18B-AC7E10D8800E}" dt="2024-04-03T12:49:44.363" v="1119" actId="20577"/>
          <ac:spMkLst>
            <pc:docMk/>
            <pc:sldMk cId="1400664593" sldId="275"/>
            <ac:spMk id="13" creationId="{D3816D81-2F0C-5C31-0215-8B391B6646ED}"/>
          </ac:spMkLst>
        </pc:spChg>
        <pc:picChg chg="mod">
          <ac:chgData name="Lars Tennbakk Bockman" userId="5a235df0-e381-4c4c-99ce-24b4b21fb9d1" providerId="ADAL" clId="{83B02544-0F5E-4C44-B18B-AC7E10D8800E}" dt="2024-04-03T08:49:46.593" v="8" actId="14826"/>
          <ac:picMkLst>
            <pc:docMk/>
            <pc:sldMk cId="1400664593" sldId="275"/>
            <ac:picMk id="10" creationId="{EDD2A1DB-03B4-A540-E2CF-68A1C96AF138}"/>
          </ac:picMkLst>
        </pc:picChg>
        <pc:picChg chg="mod">
          <ac:chgData name="Lars Tennbakk Bockman" userId="5a235df0-e381-4c4c-99ce-24b4b21fb9d1" providerId="ADAL" clId="{83B02544-0F5E-4C44-B18B-AC7E10D8800E}" dt="2024-04-03T12:48:48.871" v="1112" actId="14826"/>
          <ac:picMkLst>
            <pc:docMk/>
            <pc:sldMk cId="1400664593" sldId="275"/>
            <ac:picMk id="12" creationId="{475A88D7-D294-62B2-8755-82110AB84DD1}"/>
          </ac:picMkLst>
        </pc:picChg>
        <pc:picChg chg="mod">
          <ac:chgData name="Lars Tennbakk Bockman" userId="5a235df0-e381-4c4c-99ce-24b4b21fb9d1" providerId="ADAL" clId="{83B02544-0F5E-4C44-B18B-AC7E10D8800E}" dt="2024-04-03T12:49:14.136" v="1115" actId="1076"/>
          <ac:picMkLst>
            <pc:docMk/>
            <pc:sldMk cId="1400664593" sldId="275"/>
            <ac:picMk id="1026" creationId="{A3000F04-E780-98BA-A9F5-FBB1AD330F20}"/>
          </ac:picMkLst>
        </pc:picChg>
        <pc:picChg chg="mod">
          <ac:chgData name="Lars Tennbakk Bockman" userId="5a235df0-e381-4c4c-99ce-24b4b21fb9d1" providerId="ADAL" clId="{83B02544-0F5E-4C44-B18B-AC7E10D8800E}" dt="2024-04-03T12:49:20.726" v="1116" actId="1076"/>
          <ac:picMkLst>
            <pc:docMk/>
            <pc:sldMk cId="1400664593" sldId="275"/>
            <ac:picMk id="1028" creationId="{7BD95610-1C21-5E69-CD9D-A797BAA38B11}"/>
          </ac:picMkLst>
        </pc:picChg>
        <pc:picChg chg="mod">
          <ac:chgData name="Lars Tennbakk Bockman" userId="5a235df0-e381-4c4c-99ce-24b4b21fb9d1" providerId="ADAL" clId="{83B02544-0F5E-4C44-B18B-AC7E10D8800E}" dt="2024-04-03T12:49:10.609" v="1113" actId="1076"/>
          <ac:picMkLst>
            <pc:docMk/>
            <pc:sldMk cId="1400664593" sldId="275"/>
            <ac:picMk id="1030" creationId="{ACF3AF7C-A2DE-81CC-E858-516CB40827CE}"/>
          </ac:picMkLst>
        </pc:picChg>
        <pc:picChg chg="mod">
          <ac:chgData name="Lars Tennbakk Bockman" userId="5a235df0-e381-4c4c-99ce-24b4b21fb9d1" providerId="ADAL" clId="{83B02544-0F5E-4C44-B18B-AC7E10D8800E}" dt="2024-04-03T12:49:12.576" v="1114" actId="1076"/>
          <ac:picMkLst>
            <pc:docMk/>
            <pc:sldMk cId="1400664593" sldId="275"/>
            <ac:picMk id="1032" creationId="{8EF0B950-C72C-D5A3-948A-06A2609A5B96}"/>
          </ac:picMkLst>
        </pc:picChg>
        <pc:picChg chg="mod">
          <ac:chgData name="Lars Tennbakk Bockman" userId="5a235df0-e381-4c4c-99ce-24b4b21fb9d1" providerId="ADAL" clId="{83B02544-0F5E-4C44-B18B-AC7E10D8800E}" dt="2024-04-03T12:49:23.088" v="1117" actId="1076"/>
          <ac:picMkLst>
            <pc:docMk/>
            <pc:sldMk cId="1400664593" sldId="275"/>
            <ac:picMk id="1034" creationId="{93E8EE5C-F00F-9D19-55F8-6D26C9255442}"/>
          </ac:picMkLst>
        </pc:picChg>
      </pc:sldChg>
    </pc:docChg>
  </pc:docChgLst>
  <pc:docChgLst>
    <pc:chgData name="Lars Tennbakk Bockman" userId="5a235df0-e381-4c4c-99ce-24b4b21fb9d1" providerId="ADAL" clId="{D8FC7D48-BB51-4BF8-9320-0C2DEEC22118}"/>
    <pc:docChg chg="modSld">
      <pc:chgData name="Lars Tennbakk Bockman" userId="5a235df0-e381-4c4c-99ce-24b4b21fb9d1" providerId="ADAL" clId="{D8FC7D48-BB51-4BF8-9320-0C2DEEC22118}" dt="2024-04-26T12:44:00.145" v="2317" actId="20577"/>
      <pc:docMkLst>
        <pc:docMk/>
      </pc:docMkLst>
      <pc:sldChg chg="addSp modSp mod">
        <pc:chgData name="Lars Tennbakk Bockman" userId="5a235df0-e381-4c4c-99ce-24b4b21fb9d1" providerId="ADAL" clId="{D8FC7D48-BB51-4BF8-9320-0C2DEEC22118}" dt="2024-04-26T12:44:00.145" v="2317" actId="20577"/>
        <pc:sldMkLst>
          <pc:docMk/>
          <pc:sldMk cId="3809428704" sldId="268"/>
        </pc:sldMkLst>
        <pc:spChg chg="add mod">
          <ac:chgData name="Lars Tennbakk Bockman" userId="5a235df0-e381-4c4c-99ce-24b4b21fb9d1" providerId="ADAL" clId="{D8FC7D48-BB51-4BF8-9320-0C2DEEC22118}" dt="2024-04-26T11:25:04.981" v="2129" actId="20578"/>
          <ac:spMkLst>
            <pc:docMk/>
            <pc:sldMk cId="3809428704" sldId="268"/>
            <ac:spMk id="2" creationId="{66C22A9D-07FF-93EC-D1C3-082D18FF3201}"/>
          </ac:spMkLst>
        </pc:spChg>
        <pc:spChg chg="mod">
          <ac:chgData name="Lars Tennbakk Bockman" userId="5a235df0-e381-4c4c-99ce-24b4b21fb9d1" providerId="ADAL" clId="{D8FC7D48-BB51-4BF8-9320-0C2DEEC22118}" dt="2024-04-26T12:44:00.145" v="2317" actId="20577"/>
          <ac:spMkLst>
            <pc:docMk/>
            <pc:sldMk cId="3809428704" sldId="268"/>
            <ac:spMk id="3" creationId="{8A3EFEB1-D7F7-A46E-7DED-AE462CEAB1A0}"/>
          </ac:spMkLst>
        </pc:spChg>
      </pc:sldChg>
      <pc:sldChg chg="modSp mod">
        <pc:chgData name="Lars Tennbakk Bockman" userId="5a235df0-e381-4c4c-99ce-24b4b21fb9d1" providerId="ADAL" clId="{D8FC7D48-BB51-4BF8-9320-0C2DEEC22118}" dt="2024-04-26T11:01:20.305" v="61" actId="20577"/>
        <pc:sldMkLst>
          <pc:docMk/>
          <pc:sldMk cId="4275014000" sldId="270"/>
        </pc:sldMkLst>
        <pc:spChg chg="mod">
          <ac:chgData name="Lars Tennbakk Bockman" userId="5a235df0-e381-4c4c-99ce-24b4b21fb9d1" providerId="ADAL" clId="{D8FC7D48-BB51-4BF8-9320-0C2DEEC22118}" dt="2024-04-26T11:01:20.305" v="61" actId="20577"/>
          <ac:spMkLst>
            <pc:docMk/>
            <pc:sldMk cId="4275014000" sldId="270"/>
            <ac:spMk id="14" creationId="{21531C8D-908F-3C5D-76AA-208A0DF8D559}"/>
          </ac:spMkLst>
        </pc:spChg>
      </pc:sldChg>
    </pc:docChg>
  </pc:docChgLst>
  <pc:docChgLst>
    <pc:chgData name="Iselin Ekeli Rønningsbakk" userId="187300ae-9cb6-416d-8a94-664ca977a24d" providerId="ADAL" clId="{A982F088-28B0-44E7-A540-057AB14E26F1}"/>
    <pc:docChg chg="">
      <pc:chgData name="Iselin Ekeli Rønningsbakk" userId="187300ae-9cb6-416d-8a94-664ca977a24d" providerId="ADAL" clId="{A982F088-28B0-44E7-A540-057AB14E26F1}" dt="2024-05-13T09:04:11.853" v="0"/>
      <pc:docMkLst>
        <pc:docMk/>
      </pc:docMkLst>
      <pc:sldChg chg="modCm">
        <pc:chgData name="Iselin Ekeli Rønningsbakk" userId="187300ae-9cb6-416d-8a94-664ca977a24d" providerId="ADAL" clId="{A982F088-28B0-44E7-A540-057AB14E26F1}" dt="2024-05-13T09:04:11.853" v="0"/>
        <pc:sldMkLst>
          <pc:docMk/>
          <pc:sldMk cId="3809428704" sldId="268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mod modRxn">
              <pc226:chgData name="Iselin Ekeli Rønningsbakk" userId="187300ae-9cb6-416d-8a94-664ca977a24d" providerId="ADAL" clId="{A982F088-28B0-44E7-A540-057AB14E26F1}" dt="2024-05-13T09:04:11.853" v="0"/>
              <pc2:cmMkLst xmlns:pc2="http://schemas.microsoft.com/office/powerpoint/2019/9/main/command">
                <pc:docMk/>
                <pc:sldMk cId="3809428704" sldId="268"/>
                <pc2:cmMk id="{97225C20-E4DC-4851-AA9D-66978ACF5BAB}"/>
              </pc2:cmMkLst>
            </pc226:cmChg>
          </p:ext>
        </pc:extLst>
      </pc:sldChg>
    </pc:docChg>
  </pc:docChgLst>
  <pc:docChgLst>
    <pc:chgData name="Iselin Ekeli Rønningsbakk" userId="187300ae-9cb6-416d-8a94-664ca977a24d" providerId="ADAL" clId="{74867ED9-2A23-4D35-8970-EFBC7EB6A6E5}"/>
    <pc:docChg chg="modSld">
      <pc:chgData name="Iselin Ekeli Rønningsbakk" userId="187300ae-9cb6-416d-8a94-664ca977a24d" providerId="ADAL" clId="{74867ED9-2A23-4D35-8970-EFBC7EB6A6E5}" dt="2024-04-09T12:43:52.958" v="9" actId="20577"/>
      <pc:docMkLst>
        <pc:docMk/>
      </pc:docMkLst>
      <pc:sldChg chg="modSp mod">
        <pc:chgData name="Iselin Ekeli Rønningsbakk" userId="187300ae-9cb6-416d-8a94-664ca977a24d" providerId="ADAL" clId="{74867ED9-2A23-4D35-8970-EFBC7EB6A6E5}" dt="2024-04-09T12:43:52.958" v="9" actId="20577"/>
        <pc:sldMkLst>
          <pc:docMk/>
          <pc:sldMk cId="964345901" sldId="269"/>
        </pc:sldMkLst>
        <pc:spChg chg="mod">
          <ac:chgData name="Iselin Ekeli Rønningsbakk" userId="187300ae-9cb6-416d-8a94-664ca977a24d" providerId="ADAL" clId="{74867ED9-2A23-4D35-8970-EFBC7EB6A6E5}" dt="2024-04-09T12:43:52.958" v="9" actId="20577"/>
          <ac:spMkLst>
            <pc:docMk/>
            <pc:sldMk cId="964345901" sldId="269"/>
            <ac:spMk id="5" creationId="{1AB5B9F3-8F6E-FB63-4035-D0B61CCAA3FF}"/>
          </ac:spMkLst>
        </pc:spChg>
      </pc:sldChg>
      <pc:sldChg chg="modSp mod">
        <pc:chgData name="Iselin Ekeli Rønningsbakk" userId="187300ae-9cb6-416d-8a94-664ca977a24d" providerId="ADAL" clId="{74867ED9-2A23-4D35-8970-EFBC7EB6A6E5}" dt="2024-04-09T12:43:43.093" v="4" actId="20577"/>
        <pc:sldMkLst>
          <pc:docMk/>
          <pc:sldMk cId="4275014000" sldId="270"/>
        </pc:sldMkLst>
        <pc:spChg chg="mod">
          <ac:chgData name="Iselin Ekeli Rønningsbakk" userId="187300ae-9cb6-416d-8a94-664ca977a24d" providerId="ADAL" clId="{74867ED9-2A23-4D35-8970-EFBC7EB6A6E5}" dt="2024-04-09T12:43:43.093" v="4" actId="20577"/>
          <ac:spMkLst>
            <pc:docMk/>
            <pc:sldMk cId="4275014000" sldId="270"/>
            <ac:spMk id="7" creationId="{A033AADF-D07F-262B-FDF8-3A80D13F93CB}"/>
          </ac:spMkLst>
        </pc:spChg>
      </pc:sldChg>
    </pc:docChg>
  </pc:docChgLst>
  <pc:docChgLst>
    <pc:chgData name="Lars Tennbakk Bockman" userId="S::lars.bockman@fornybarnorge.no::5a235df0-e381-4c4c-99ce-24b4b21fb9d1" providerId="AD" clId="Web-{EA80F0FD-86BE-F34E-8E62-E82B2CE10331}"/>
    <pc:docChg chg="modSld">
      <pc:chgData name="Lars Tennbakk Bockman" userId="S::lars.bockman@fornybarnorge.no::5a235df0-e381-4c4c-99ce-24b4b21fb9d1" providerId="AD" clId="Web-{EA80F0FD-86BE-F34E-8E62-E82B2CE10331}" dt="2024-04-23T13:08:03.074" v="3" actId="20577"/>
      <pc:docMkLst>
        <pc:docMk/>
      </pc:docMkLst>
      <pc:sldChg chg="delSp modSp">
        <pc:chgData name="Lars Tennbakk Bockman" userId="S::lars.bockman@fornybarnorge.no::5a235df0-e381-4c4c-99ce-24b4b21fb9d1" providerId="AD" clId="Web-{EA80F0FD-86BE-F34E-8E62-E82B2CE10331}" dt="2024-04-23T13:08:03.074" v="3" actId="20577"/>
        <pc:sldMkLst>
          <pc:docMk/>
          <pc:sldMk cId="3149972175" sldId="261"/>
        </pc:sldMkLst>
        <pc:spChg chg="mod">
          <ac:chgData name="Lars Tennbakk Bockman" userId="S::lars.bockman@fornybarnorge.no::5a235df0-e381-4c4c-99ce-24b4b21fb9d1" providerId="AD" clId="Web-{EA80F0FD-86BE-F34E-8E62-E82B2CE10331}" dt="2024-04-23T13:08:03.074" v="3" actId="20577"/>
          <ac:spMkLst>
            <pc:docMk/>
            <pc:sldMk cId="3149972175" sldId="261"/>
            <ac:spMk id="2" creationId="{EB808BFC-B71A-C9E5-5827-2A0376474563}"/>
          </ac:spMkLst>
        </pc:spChg>
        <pc:picChg chg="del">
          <ac:chgData name="Lars Tennbakk Bockman" userId="S::lars.bockman@fornybarnorge.no::5a235df0-e381-4c4c-99ce-24b4b21fb9d1" providerId="AD" clId="Web-{EA80F0FD-86BE-F34E-8E62-E82B2CE10331}" dt="2024-04-23T13:07:07.508" v="0"/>
          <ac:picMkLst>
            <pc:docMk/>
            <pc:sldMk cId="3149972175" sldId="261"/>
            <ac:picMk id="10" creationId="{607CFFAC-59AF-1273-0123-E7F3000E72DF}"/>
          </ac:picMkLst>
        </pc:picChg>
      </pc:sldChg>
    </pc:docChg>
  </pc:docChgLst>
  <pc:docChgLst>
    <pc:chgData name="Lars Tennbakk Bockman" userId="5a235df0-e381-4c4c-99ce-24b4b21fb9d1" providerId="ADAL" clId="{A4077F93-E2AB-46E2-80E5-72704175BD0D}"/>
    <pc:docChg chg="undo custSel modSld replTag">
      <pc:chgData name="Lars Tennbakk Bockman" userId="5a235df0-e381-4c4c-99ce-24b4b21fb9d1" providerId="ADAL" clId="{A4077F93-E2AB-46E2-80E5-72704175BD0D}" dt="2024-04-24T08:36:36.047" v="2479"/>
      <pc:docMkLst>
        <pc:docMk/>
      </pc:docMkLst>
      <pc:sldChg chg="addSp delSp modSp mod">
        <pc:chgData name="Lars Tennbakk Bockman" userId="5a235df0-e381-4c4c-99ce-24b4b21fb9d1" providerId="ADAL" clId="{A4077F93-E2AB-46E2-80E5-72704175BD0D}" dt="2024-04-23T14:16:38.831" v="634"/>
        <pc:sldMkLst>
          <pc:docMk/>
          <pc:sldMk cId="3149972175" sldId="261"/>
        </pc:sldMkLst>
        <pc:spChg chg="mod">
          <ac:chgData name="Lars Tennbakk Bockman" userId="5a235df0-e381-4c4c-99ce-24b4b21fb9d1" providerId="ADAL" clId="{A4077F93-E2AB-46E2-80E5-72704175BD0D}" dt="2024-04-23T14:16:38.831" v="632" actId="20578"/>
          <ac:spMkLst>
            <pc:docMk/>
            <pc:sldMk cId="3149972175" sldId="261"/>
            <ac:spMk id="2" creationId="{EB808BFC-B71A-C9E5-5827-2A0376474563}"/>
          </ac:spMkLst>
        </pc:spChg>
        <pc:spChg chg="add del mod modVis">
          <ac:chgData name="Lars Tennbakk Bockman" userId="5a235df0-e381-4c4c-99ce-24b4b21fb9d1" providerId="ADAL" clId="{A4077F93-E2AB-46E2-80E5-72704175BD0D}" dt="2024-04-23T14:16:38.831" v="632" actId="20578"/>
          <ac:spMkLst>
            <pc:docMk/>
            <pc:sldMk cId="3149972175" sldId="261"/>
            <ac:spMk id="3" creationId="{330BFE76-8C95-FEAC-9455-D826D5D03DC4}"/>
          </ac:spMkLst>
        </pc:spChg>
        <pc:spChg chg="mod">
          <ac:chgData name="Lars Tennbakk Bockman" userId="5a235df0-e381-4c4c-99ce-24b4b21fb9d1" providerId="ADAL" clId="{A4077F93-E2AB-46E2-80E5-72704175BD0D}" dt="2024-04-23T13:27:46.779" v="582" actId="27636"/>
          <ac:spMkLst>
            <pc:docMk/>
            <pc:sldMk cId="3149972175" sldId="261"/>
            <ac:spMk id="15" creationId="{71CD328A-FCBF-98DB-A3A2-36A13A7E9980}"/>
          </ac:spMkLst>
        </pc:spChg>
        <pc:graphicFrameChg chg="mod">
          <ac:chgData name="Lars Tennbakk Bockman" userId="5a235df0-e381-4c4c-99ce-24b4b21fb9d1" providerId="ADAL" clId="{A4077F93-E2AB-46E2-80E5-72704175BD0D}" dt="2024-04-23T14:16:38.831" v="634"/>
          <ac:graphicFrameMkLst>
            <pc:docMk/>
            <pc:sldMk cId="3149972175" sldId="261"/>
            <ac:graphicFrameMk id="5" creationId="{9E8B56EC-7292-D1FD-439F-B85706CC2184}"/>
          </ac:graphicFrameMkLst>
        </pc:graphicFrameChg>
      </pc:sldChg>
      <pc:sldChg chg="addSp delSp modSp mod">
        <pc:chgData name="Lars Tennbakk Bockman" userId="5a235df0-e381-4c4c-99ce-24b4b21fb9d1" providerId="ADAL" clId="{A4077F93-E2AB-46E2-80E5-72704175BD0D}" dt="2024-04-24T08:36:36.047" v="2479"/>
        <pc:sldMkLst>
          <pc:docMk/>
          <pc:sldMk cId="3809428704" sldId="268"/>
        </pc:sldMkLst>
        <pc:spChg chg="add del mod modVis">
          <ac:chgData name="Lars Tennbakk Bockman" userId="5a235df0-e381-4c4c-99ce-24b4b21fb9d1" providerId="ADAL" clId="{A4077F93-E2AB-46E2-80E5-72704175BD0D}" dt="2024-04-24T08:36:36.047" v="2477"/>
          <ac:spMkLst>
            <pc:docMk/>
            <pc:sldMk cId="3809428704" sldId="268"/>
            <ac:spMk id="2" creationId="{02C68F92-9892-1D7C-43AF-816B81E5A0D4}"/>
          </ac:spMkLst>
        </pc:spChg>
        <pc:spChg chg="mod">
          <ac:chgData name="Lars Tennbakk Bockman" userId="5a235df0-e381-4c4c-99ce-24b4b21fb9d1" providerId="ADAL" clId="{A4077F93-E2AB-46E2-80E5-72704175BD0D}" dt="2024-04-24T08:36:30.493" v="2448" actId="14100"/>
          <ac:spMkLst>
            <pc:docMk/>
            <pc:sldMk cId="3809428704" sldId="268"/>
            <ac:spMk id="3" creationId="{8A3EFEB1-D7F7-A46E-7DED-AE462CEAB1A0}"/>
          </ac:spMkLst>
        </pc:spChg>
        <pc:spChg chg="mod">
          <ac:chgData name="Lars Tennbakk Bockman" userId="5a235df0-e381-4c4c-99ce-24b4b21fb9d1" providerId="ADAL" clId="{A4077F93-E2AB-46E2-80E5-72704175BD0D}" dt="2024-04-24T08:36:36.025" v="2454" actId="948"/>
          <ac:spMkLst>
            <pc:docMk/>
            <pc:sldMk cId="3809428704" sldId="268"/>
            <ac:spMk id="27" creationId="{D4479EF9-3012-3964-A9D0-6C16A3C05105}"/>
          </ac:spMkLst>
        </pc:spChg>
        <pc:graphicFrameChg chg="mod">
          <ac:chgData name="Lars Tennbakk Bockman" userId="5a235df0-e381-4c4c-99ce-24b4b21fb9d1" providerId="ADAL" clId="{A4077F93-E2AB-46E2-80E5-72704175BD0D}" dt="2024-04-24T08:36:36.047" v="2479"/>
          <ac:graphicFrameMkLst>
            <pc:docMk/>
            <pc:sldMk cId="3809428704" sldId="268"/>
            <ac:graphicFrameMk id="5" creationId="{F357CBFE-67B8-6958-F926-F7EF5569B0E6}"/>
          </ac:graphicFrameMkLst>
        </pc:graphicFrameChg>
      </pc:sldChg>
      <pc:sldChg chg="addSp delSp modSp mod delCm">
        <pc:chgData name="Lars Tennbakk Bockman" userId="5a235df0-e381-4c4c-99ce-24b4b21fb9d1" providerId="ADAL" clId="{A4077F93-E2AB-46E2-80E5-72704175BD0D}" dt="2024-04-24T08:09:03.368" v="1239" actId="1076"/>
        <pc:sldMkLst>
          <pc:docMk/>
          <pc:sldMk cId="964345901" sldId="269"/>
        </pc:sldMkLst>
        <pc:spChg chg="add del mod modVis">
          <ac:chgData name="Lars Tennbakk Bockman" userId="5a235df0-e381-4c4c-99ce-24b4b21fb9d1" providerId="ADAL" clId="{A4077F93-E2AB-46E2-80E5-72704175BD0D}" dt="2024-04-23T14:17:15.368" v="685"/>
          <ac:spMkLst>
            <pc:docMk/>
            <pc:sldMk cId="964345901" sldId="269"/>
            <ac:spMk id="6" creationId="{B33C0800-73F2-F632-4692-530780223507}"/>
          </ac:spMkLst>
        </pc:spChg>
        <pc:spChg chg="add del mod modVis">
          <ac:chgData name="Lars Tennbakk Bockman" userId="5a235df0-e381-4c4c-99ce-24b4b21fb9d1" providerId="ADAL" clId="{A4077F93-E2AB-46E2-80E5-72704175BD0D}" dt="2024-04-23T14:17:22.045" v="712"/>
          <ac:spMkLst>
            <pc:docMk/>
            <pc:sldMk cId="964345901" sldId="269"/>
            <ac:spMk id="8" creationId="{21E7340A-604C-25E6-111D-578B728AB28F}"/>
          </ac:spMkLst>
        </pc:spChg>
        <pc:spChg chg="add del mod modVis">
          <ac:chgData name="Lars Tennbakk Bockman" userId="5a235df0-e381-4c4c-99ce-24b4b21fb9d1" providerId="ADAL" clId="{A4077F93-E2AB-46E2-80E5-72704175BD0D}" dt="2024-04-23T14:17:23.150" v="743"/>
          <ac:spMkLst>
            <pc:docMk/>
            <pc:sldMk cId="964345901" sldId="269"/>
            <ac:spMk id="10" creationId="{30CA4C6B-8335-73D2-BB64-676407DFF91D}"/>
          </ac:spMkLst>
        </pc:spChg>
        <pc:spChg chg="mod">
          <ac:chgData name="Lars Tennbakk Bockman" userId="5a235df0-e381-4c4c-99ce-24b4b21fb9d1" providerId="ADAL" clId="{A4077F93-E2AB-46E2-80E5-72704175BD0D}" dt="2024-04-23T14:20:26.607" v="932" actId="948"/>
          <ac:spMkLst>
            <pc:docMk/>
            <pc:sldMk cId="964345901" sldId="269"/>
            <ac:spMk id="11" creationId="{C9D230B1-551A-0E7A-96AB-ADE59A906758}"/>
          </ac:spMkLst>
        </pc:spChg>
        <pc:spChg chg="add del mod modVis">
          <ac:chgData name="Lars Tennbakk Bockman" userId="5a235df0-e381-4c4c-99ce-24b4b21fb9d1" providerId="ADAL" clId="{A4077F93-E2AB-46E2-80E5-72704175BD0D}" dt="2024-04-23T14:20:26.622" v="955"/>
          <ac:spMkLst>
            <pc:docMk/>
            <pc:sldMk cId="964345901" sldId="269"/>
            <ac:spMk id="12" creationId="{4D4FA26A-2C5E-8800-D081-439696FBADE7}"/>
          </ac:spMkLst>
        </pc:spChg>
        <pc:spChg chg="mod">
          <ac:chgData name="Lars Tennbakk Bockman" userId="5a235df0-e381-4c4c-99ce-24b4b21fb9d1" providerId="ADAL" clId="{A4077F93-E2AB-46E2-80E5-72704175BD0D}" dt="2024-04-24T08:08:50.859" v="1238" actId="20577"/>
          <ac:spMkLst>
            <pc:docMk/>
            <pc:sldMk cId="964345901" sldId="269"/>
            <ac:spMk id="15" creationId="{04DCDA78-71F1-811A-A7B3-AF6C80100E58}"/>
          </ac:spMkLst>
        </pc:spChg>
        <pc:graphicFrameChg chg="mod">
          <ac:chgData name="Lars Tennbakk Bockman" userId="5a235df0-e381-4c4c-99ce-24b4b21fb9d1" providerId="ADAL" clId="{A4077F93-E2AB-46E2-80E5-72704175BD0D}" dt="2024-04-23T14:20:26.638" v="957"/>
          <ac:graphicFrameMkLst>
            <pc:docMk/>
            <pc:sldMk cId="964345901" sldId="269"/>
            <ac:graphicFrameMk id="7" creationId="{4079E723-2D8B-9E39-E93A-0F21F77BD225}"/>
          </ac:graphicFrameMkLst>
        </pc:graphicFrameChg>
        <pc:picChg chg="mod">
          <ac:chgData name="Lars Tennbakk Bockman" userId="5a235df0-e381-4c4c-99ce-24b4b21fb9d1" providerId="ADAL" clId="{A4077F93-E2AB-46E2-80E5-72704175BD0D}" dt="2024-04-24T08:09:03.368" v="1239" actId="1076"/>
          <ac:picMkLst>
            <pc:docMk/>
            <pc:sldMk cId="964345901" sldId="269"/>
            <ac:picMk id="19" creationId="{48D81E10-A362-0BE0-5A29-09482A073F28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del">
              <pc226:chgData name="Lars Tennbakk Bockman" userId="5a235df0-e381-4c4c-99ce-24b4b21fb9d1" providerId="ADAL" clId="{A4077F93-E2AB-46E2-80E5-72704175BD0D}" dt="2024-04-23T14:17:41.389" v="808"/>
              <pc2:cmMkLst xmlns:pc2="http://schemas.microsoft.com/office/powerpoint/2019/9/main/command">
                <pc:docMk/>
                <pc:sldMk cId="964345901" sldId="269"/>
                <pc2:cmMk id="{9A5C4123-9DEB-4AB8-94A5-0C33A2F94B75}"/>
              </pc2:cmMkLst>
            </pc226:cmChg>
          </p:ext>
        </pc:extLst>
      </pc:sldChg>
      <pc:sldChg chg="addSp delSp modSp mod">
        <pc:chgData name="Lars Tennbakk Bockman" userId="5a235df0-e381-4c4c-99ce-24b4b21fb9d1" providerId="ADAL" clId="{A4077F93-E2AB-46E2-80E5-72704175BD0D}" dt="2024-04-24T08:07:12.290" v="1123" actId="20577"/>
        <pc:sldMkLst>
          <pc:docMk/>
          <pc:sldMk cId="4275014000" sldId="270"/>
        </pc:sldMkLst>
        <pc:spChg chg="add del mod modVis">
          <ac:chgData name="Lars Tennbakk Bockman" userId="5a235df0-e381-4c4c-99ce-24b4b21fb9d1" providerId="ADAL" clId="{A4077F93-E2AB-46E2-80E5-72704175BD0D}" dt="2024-04-23T14:17:25.834" v="770"/>
          <ac:spMkLst>
            <pc:docMk/>
            <pc:sldMk cId="4275014000" sldId="270"/>
            <ac:spMk id="8" creationId="{4325FBA9-FB7F-4630-E084-4163074F6525}"/>
          </ac:spMkLst>
        </pc:spChg>
        <pc:spChg chg="add del mod modVis">
          <ac:chgData name="Lars Tennbakk Bockman" userId="5a235df0-e381-4c4c-99ce-24b4b21fb9d1" providerId="ADAL" clId="{A4077F93-E2AB-46E2-80E5-72704175BD0D}" dt="2024-04-23T14:17:26.822" v="800"/>
          <ac:spMkLst>
            <pc:docMk/>
            <pc:sldMk cId="4275014000" sldId="270"/>
            <ac:spMk id="10" creationId="{4C8B0786-4345-23D4-4585-A57E0D9CA16C}"/>
          </ac:spMkLst>
        </pc:spChg>
        <pc:spChg chg="mod">
          <ac:chgData name="Lars Tennbakk Bockman" userId="5a235df0-e381-4c4c-99ce-24b4b21fb9d1" providerId="ADAL" clId="{A4077F93-E2AB-46E2-80E5-72704175BD0D}" dt="2024-04-23T14:17:26.806" v="777" actId="948"/>
          <ac:spMkLst>
            <pc:docMk/>
            <pc:sldMk cId="4275014000" sldId="270"/>
            <ac:spMk id="11" creationId="{C9D230B1-551A-0E7A-96AB-ADE59A906758}"/>
          </ac:spMkLst>
        </pc:spChg>
        <pc:spChg chg="mod">
          <ac:chgData name="Lars Tennbakk Bockman" userId="5a235df0-e381-4c4c-99ce-24b4b21fb9d1" providerId="ADAL" clId="{A4077F93-E2AB-46E2-80E5-72704175BD0D}" dt="2024-04-24T08:07:12.290" v="1123" actId="20577"/>
          <ac:spMkLst>
            <pc:docMk/>
            <pc:sldMk cId="4275014000" sldId="270"/>
            <ac:spMk id="14" creationId="{21531C8D-908F-3C5D-76AA-208A0DF8D559}"/>
          </ac:spMkLst>
        </pc:spChg>
        <pc:graphicFrameChg chg="mod">
          <ac:chgData name="Lars Tennbakk Bockman" userId="5a235df0-e381-4c4c-99ce-24b4b21fb9d1" providerId="ADAL" clId="{A4077F93-E2AB-46E2-80E5-72704175BD0D}" dt="2024-04-23T14:17:26.822" v="802"/>
          <ac:graphicFrameMkLst>
            <pc:docMk/>
            <pc:sldMk cId="4275014000" sldId="270"/>
            <ac:graphicFrameMk id="9" creationId="{9A0A2B6D-88E9-5295-3A1E-C54929634722}"/>
          </ac:graphicFrameMkLst>
        </pc:graphicFrameChg>
        <pc:picChg chg="mod">
          <ac:chgData name="Lars Tennbakk Bockman" userId="5a235df0-e381-4c4c-99ce-24b4b21fb9d1" providerId="ADAL" clId="{A4077F93-E2AB-46E2-80E5-72704175BD0D}" dt="2024-04-24T07:58:04.773" v="958" actId="14826"/>
          <ac:picMkLst>
            <pc:docMk/>
            <pc:sldMk cId="4275014000" sldId="270"/>
            <ac:picMk id="6" creationId="{E247D54D-3951-79FF-87AE-26509570666F}"/>
          </ac:picMkLst>
        </pc:picChg>
      </pc:sldChg>
      <pc:sldChg chg="modSp mod">
        <pc:chgData name="Lars Tennbakk Bockman" userId="5a235df0-e381-4c4c-99ce-24b4b21fb9d1" providerId="ADAL" clId="{A4077F93-E2AB-46E2-80E5-72704175BD0D}" dt="2024-04-23T14:17:31.418" v="807" actId="20577"/>
        <pc:sldMkLst>
          <pc:docMk/>
          <pc:sldMk cId="1400664593" sldId="275"/>
        </pc:sldMkLst>
        <pc:spChg chg="mod">
          <ac:chgData name="Lars Tennbakk Bockman" userId="5a235df0-e381-4c4c-99ce-24b4b21fb9d1" providerId="ADAL" clId="{A4077F93-E2AB-46E2-80E5-72704175BD0D}" dt="2024-04-23T14:17:31.418" v="807" actId="20577"/>
          <ac:spMkLst>
            <pc:docMk/>
            <pc:sldMk cId="1400664593" sldId="275"/>
            <ac:spMk id="13" creationId="{D3816D81-2F0C-5C31-0215-8B391B6646ED}"/>
          </ac:spMkLst>
        </pc:spChg>
      </pc:sldChg>
    </pc:docChg>
  </pc:docChgLst>
  <pc:docChgLst>
    <pc:chgData name="Iselin Ekeli Rønningsbakk" userId="187300ae-9cb6-416d-8a94-664ca977a24d" providerId="ADAL" clId="{750B9AAA-1068-463C-A928-621951E880E7}"/>
    <pc:docChg chg="modSld">
      <pc:chgData name="Iselin Ekeli Rønningsbakk" userId="187300ae-9cb6-416d-8a94-664ca977a24d" providerId="ADAL" clId="{750B9AAA-1068-463C-A928-621951E880E7}" dt="2024-05-08T11:20:58.602" v="1158" actId="20577"/>
      <pc:docMkLst>
        <pc:docMk/>
      </pc:docMkLst>
      <pc:sldChg chg="modSp mod">
        <pc:chgData name="Iselin Ekeli Rønningsbakk" userId="187300ae-9cb6-416d-8a94-664ca977a24d" providerId="ADAL" clId="{750B9AAA-1068-463C-A928-621951E880E7}" dt="2024-05-08T11:20:58.602" v="1158" actId="20577"/>
        <pc:sldMkLst>
          <pc:docMk/>
          <pc:sldMk cId="4148148830" sldId="259"/>
        </pc:sldMkLst>
        <pc:spChg chg="mod">
          <ac:chgData name="Iselin Ekeli Rønningsbakk" userId="187300ae-9cb6-416d-8a94-664ca977a24d" providerId="ADAL" clId="{750B9AAA-1068-463C-A928-621951E880E7}" dt="2024-05-08T11:20:58.602" v="1158" actId="20577"/>
          <ac:spMkLst>
            <pc:docMk/>
            <pc:sldMk cId="4148148830" sldId="259"/>
            <ac:spMk id="4" creationId="{02B670F3-F503-EDCF-4447-49EB9200B55E}"/>
          </ac:spMkLst>
        </pc:spChg>
      </pc:sldChg>
      <pc:sldChg chg="modSp mod addCm modCm">
        <pc:chgData name="Iselin Ekeli Rønningsbakk" userId="187300ae-9cb6-416d-8a94-664ca977a24d" providerId="ADAL" clId="{750B9AAA-1068-463C-A928-621951E880E7}" dt="2024-05-08T11:15:34.355" v="1117" actId="255"/>
        <pc:sldMkLst>
          <pc:docMk/>
          <pc:sldMk cId="3809428704" sldId="268"/>
        </pc:sldMkLst>
        <pc:spChg chg="mod">
          <ac:chgData name="Iselin Ekeli Rønningsbakk" userId="187300ae-9cb6-416d-8a94-664ca977a24d" providerId="ADAL" clId="{750B9AAA-1068-463C-A928-621951E880E7}" dt="2024-05-08T11:15:27.579" v="1116" actId="255"/>
          <ac:spMkLst>
            <pc:docMk/>
            <pc:sldMk cId="3809428704" sldId="268"/>
            <ac:spMk id="2" creationId="{66C22A9D-07FF-93EC-D1C3-082D18FF3201}"/>
          </ac:spMkLst>
        </pc:spChg>
        <pc:spChg chg="mod">
          <ac:chgData name="Iselin Ekeli Rønningsbakk" userId="187300ae-9cb6-416d-8a94-664ca977a24d" providerId="ADAL" clId="{750B9AAA-1068-463C-A928-621951E880E7}" dt="2024-05-08T11:15:34.355" v="1117" actId="255"/>
          <ac:spMkLst>
            <pc:docMk/>
            <pc:sldMk cId="3809428704" sldId="268"/>
            <ac:spMk id="3" creationId="{8A3EFEB1-D7F7-A46E-7DED-AE462CEAB1A0}"/>
          </ac:spMkLst>
        </pc:spChg>
        <pc:extLst>
          <p:ext xmlns:p="http://schemas.openxmlformats.org/presentationml/2006/main" uri="{D6D511B9-2390-475A-947B-AFAB55BFBCF1}">
            <pc226:cmChg xmlns:pc226="http://schemas.microsoft.com/office/powerpoint/2022/06/main/command" chg="add mod">
              <pc226:chgData name="Iselin Ekeli Rønningsbakk" userId="187300ae-9cb6-416d-8a94-664ca977a24d" providerId="ADAL" clId="{750B9AAA-1068-463C-A928-621951E880E7}" dt="2024-05-08T11:07:50.447" v="432" actId="20577"/>
              <pc2:cmMkLst xmlns:pc2="http://schemas.microsoft.com/office/powerpoint/2019/9/main/command">
                <pc:docMk/>
                <pc:sldMk cId="3809428704" sldId="268"/>
                <pc2:cmMk id="{97225C20-E4DC-4851-AA9D-66978ACF5BAB}"/>
              </pc2:cmMkLst>
            </pc226:cmChg>
          </p:ext>
        </pc:extLst>
      </pc:sldChg>
      <pc:sldChg chg="modSp mod">
        <pc:chgData name="Iselin Ekeli Rønningsbakk" userId="187300ae-9cb6-416d-8a94-664ca977a24d" providerId="ADAL" clId="{750B9AAA-1068-463C-A928-621951E880E7}" dt="2024-05-06T08:26:32.020" v="95" actId="6549"/>
        <pc:sldMkLst>
          <pc:docMk/>
          <pc:sldMk cId="964345901" sldId="269"/>
        </pc:sldMkLst>
        <pc:spChg chg="mod">
          <ac:chgData name="Iselin Ekeli Rønningsbakk" userId="187300ae-9cb6-416d-8a94-664ca977a24d" providerId="ADAL" clId="{750B9AAA-1068-463C-A928-621951E880E7}" dt="2024-05-06T08:26:32.020" v="95" actId="6549"/>
          <ac:spMkLst>
            <pc:docMk/>
            <pc:sldMk cId="964345901" sldId="269"/>
            <ac:spMk id="15" creationId="{04DCDA78-71F1-811A-A7B3-AF6C80100E58}"/>
          </ac:spMkLst>
        </pc:spChg>
      </pc:sldChg>
    </pc:docChg>
  </pc:docChgLst>
  <pc:docChgLst>
    <pc:chgData name="Lars Tennbakk Bockman" userId="5a235df0-e381-4c4c-99ce-24b4b21fb9d1" providerId="ADAL" clId="{2A9B793B-E7F3-45B6-8056-E74BFFFEF538}"/>
    <pc:docChg chg="undo custSel modSld">
      <pc:chgData name="Lars Tennbakk Bockman" userId="5a235df0-e381-4c4c-99ce-24b4b21fb9d1" providerId="ADAL" clId="{2A9B793B-E7F3-45B6-8056-E74BFFFEF538}" dt="2024-04-12T11:02:21.519" v="1452" actId="14100"/>
      <pc:docMkLst>
        <pc:docMk/>
      </pc:docMkLst>
      <pc:sldChg chg="modSp mod">
        <pc:chgData name="Lars Tennbakk Bockman" userId="5a235df0-e381-4c4c-99ce-24b4b21fb9d1" providerId="ADAL" clId="{2A9B793B-E7F3-45B6-8056-E74BFFFEF538}" dt="2024-04-10T12:49:44.559" v="1139" actId="20577"/>
        <pc:sldMkLst>
          <pc:docMk/>
          <pc:sldMk cId="4148148830" sldId="259"/>
        </pc:sldMkLst>
        <pc:spChg chg="mod">
          <ac:chgData name="Lars Tennbakk Bockman" userId="5a235df0-e381-4c4c-99ce-24b4b21fb9d1" providerId="ADAL" clId="{2A9B793B-E7F3-45B6-8056-E74BFFFEF538}" dt="2024-04-10T12:49:44.559" v="1139" actId="20577"/>
          <ac:spMkLst>
            <pc:docMk/>
            <pc:sldMk cId="4148148830" sldId="259"/>
            <ac:spMk id="4" creationId="{02B670F3-F503-EDCF-4447-49EB9200B55E}"/>
          </ac:spMkLst>
        </pc:spChg>
      </pc:sldChg>
      <pc:sldChg chg="addSp delSp modSp mod">
        <pc:chgData name="Lars Tennbakk Bockman" userId="5a235df0-e381-4c4c-99ce-24b4b21fb9d1" providerId="ADAL" clId="{2A9B793B-E7F3-45B6-8056-E74BFFFEF538}" dt="2024-04-12T11:02:21.519" v="1452" actId="14100"/>
        <pc:sldMkLst>
          <pc:docMk/>
          <pc:sldMk cId="3149972175" sldId="261"/>
        </pc:sldMkLst>
        <pc:spChg chg="add del">
          <ac:chgData name="Lars Tennbakk Bockman" userId="5a235df0-e381-4c4c-99ce-24b4b21fb9d1" providerId="ADAL" clId="{2A9B793B-E7F3-45B6-8056-E74BFFFEF538}" dt="2024-04-12T11:01:36.648" v="1445" actId="478"/>
          <ac:spMkLst>
            <pc:docMk/>
            <pc:sldMk cId="3149972175" sldId="261"/>
            <ac:spMk id="3" creationId="{D833EDB0-2FBD-F858-E9D8-E247E7591AA6}"/>
          </ac:spMkLst>
        </pc:spChg>
        <pc:spChg chg="mod">
          <ac:chgData name="Lars Tennbakk Bockman" userId="5a235df0-e381-4c4c-99ce-24b4b21fb9d1" providerId="ADAL" clId="{2A9B793B-E7F3-45B6-8056-E74BFFFEF538}" dt="2024-04-10T10:30:54.632" v="691" actId="13926"/>
          <ac:spMkLst>
            <pc:docMk/>
            <pc:sldMk cId="3149972175" sldId="261"/>
            <ac:spMk id="15" creationId="{71CD328A-FCBF-98DB-A3A2-36A13A7E9980}"/>
          </ac:spMkLst>
        </pc:spChg>
        <pc:picChg chg="add mod">
          <ac:chgData name="Lars Tennbakk Bockman" userId="5a235df0-e381-4c4c-99ce-24b4b21fb9d1" providerId="ADAL" clId="{2A9B793B-E7F3-45B6-8056-E74BFFFEF538}" dt="2024-04-12T11:02:21.519" v="1452" actId="14100"/>
          <ac:picMkLst>
            <pc:docMk/>
            <pc:sldMk cId="3149972175" sldId="261"/>
            <ac:picMk id="8" creationId="{8024784E-B6AC-28D7-0AB0-ADE7E934E7A1}"/>
          </ac:picMkLst>
        </pc:picChg>
        <pc:picChg chg="del">
          <ac:chgData name="Lars Tennbakk Bockman" userId="5a235df0-e381-4c4c-99ce-24b4b21fb9d1" providerId="ADAL" clId="{2A9B793B-E7F3-45B6-8056-E74BFFFEF538}" dt="2024-04-12T11:01:34.351" v="1443" actId="478"/>
          <ac:picMkLst>
            <pc:docMk/>
            <pc:sldMk cId="3149972175" sldId="261"/>
            <ac:picMk id="9" creationId="{44CEDB3C-E57F-F323-62AD-0E388B9FAAD8}"/>
          </ac:picMkLst>
        </pc:picChg>
      </pc:sldChg>
      <pc:sldChg chg="addSp delSp modSp mod">
        <pc:chgData name="Lars Tennbakk Bockman" userId="5a235df0-e381-4c4c-99ce-24b4b21fb9d1" providerId="ADAL" clId="{2A9B793B-E7F3-45B6-8056-E74BFFFEF538}" dt="2024-04-10T12:52:37.290" v="1159" actId="14100"/>
        <pc:sldMkLst>
          <pc:docMk/>
          <pc:sldMk cId="362544367" sldId="264"/>
        </pc:sldMkLst>
        <pc:spChg chg="mod">
          <ac:chgData name="Lars Tennbakk Bockman" userId="5a235df0-e381-4c4c-99ce-24b4b21fb9d1" providerId="ADAL" clId="{2A9B793B-E7F3-45B6-8056-E74BFFFEF538}" dt="2024-04-10T12:52:37.290" v="1159" actId="14100"/>
          <ac:spMkLst>
            <pc:docMk/>
            <pc:sldMk cId="362544367" sldId="264"/>
            <ac:spMk id="6" creationId="{43281BD6-61B8-4DBB-3558-178E91D04924}"/>
          </ac:spMkLst>
        </pc:spChg>
        <pc:graphicFrameChg chg="mod modGraphic">
          <ac:chgData name="Lars Tennbakk Bockman" userId="5a235df0-e381-4c4c-99ce-24b4b21fb9d1" providerId="ADAL" clId="{2A9B793B-E7F3-45B6-8056-E74BFFFEF538}" dt="2024-04-10T12:52:33.367" v="1158" actId="14100"/>
          <ac:graphicFrameMkLst>
            <pc:docMk/>
            <pc:sldMk cId="362544367" sldId="264"/>
            <ac:graphicFrameMk id="5" creationId="{131A36CF-B9F9-5E74-5113-847B2A062B33}"/>
          </ac:graphicFrameMkLst>
        </pc:graphicFrameChg>
        <pc:graphicFrameChg chg="add mod modGraphic">
          <ac:chgData name="Lars Tennbakk Bockman" userId="5a235df0-e381-4c4c-99ce-24b4b21fb9d1" providerId="ADAL" clId="{2A9B793B-E7F3-45B6-8056-E74BFFFEF538}" dt="2024-04-10T12:50:24.143" v="1142" actId="12385"/>
          <ac:graphicFrameMkLst>
            <pc:docMk/>
            <pc:sldMk cId="362544367" sldId="264"/>
            <ac:graphicFrameMk id="10" creationId="{A69C24CA-7411-4742-B8B0-4E6A225ADD6D}"/>
          </ac:graphicFrameMkLst>
        </pc:graphicFrameChg>
        <pc:graphicFrameChg chg="add del mod">
          <ac:chgData name="Lars Tennbakk Bockman" userId="5a235df0-e381-4c4c-99ce-24b4b21fb9d1" providerId="ADAL" clId="{2A9B793B-E7F3-45B6-8056-E74BFFFEF538}" dt="2024-04-10T12:50:43.207" v="1144" actId="478"/>
          <ac:graphicFrameMkLst>
            <pc:docMk/>
            <pc:sldMk cId="362544367" sldId="264"/>
            <ac:graphicFrameMk id="12" creationId="{0D589D52-C113-6F16-013A-F0F2DEF4EC12}"/>
          </ac:graphicFrameMkLst>
        </pc:graphicFrameChg>
      </pc:sldChg>
      <pc:sldChg chg="delSp modSp mod">
        <pc:chgData name="Lars Tennbakk Bockman" userId="5a235df0-e381-4c4c-99ce-24b4b21fb9d1" providerId="ADAL" clId="{2A9B793B-E7F3-45B6-8056-E74BFFFEF538}" dt="2024-04-10T10:32:06.934" v="701" actId="20577"/>
        <pc:sldMkLst>
          <pc:docMk/>
          <pc:sldMk cId="3809428704" sldId="268"/>
        </pc:sldMkLst>
        <pc:spChg chg="mod">
          <ac:chgData name="Lars Tennbakk Bockman" userId="5a235df0-e381-4c4c-99ce-24b4b21fb9d1" providerId="ADAL" clId="{2A9B793B-E7F3-45B6-8056-E74BFFFEF538}" dt="2024-04-10T10:32:06.934" v="701" actId="20577"/>
          <ac:spMkLst>
            <pc:docMk/>
            <pc:sldMk cId="3809428704" sldId="268"/>
            <ac:spMk id="3" creationId="{8A3EFEB1-D7F7-A46E-7DED-AE462CEAB1A0}"/>
          </ac:spMkLst>
        </pc:spChg>
        <pc:spChg chg="del mod">
          <ac:chgData name="Lars Tennbakk Bockman" userId="5a235df0-e381-4c4c-99ce-24b4b21fb9d1" providerId="ADAL" clId="{2A9B793B-E7F3-45B6-8056-E74BFFFEF538}" dt="2024-04-10T10:31:32.670" v="694"/>
          <ac:spMkLst>
            <pc:docMk/>
            <pc:sldMk cId="3809428704" sldId="268"/>
            <ac:spMk id="4" creationId="{D1901E2F-AFF3-2F50-C7AA-0E8DFCDE0BD5}"/>
          </ac:spMkLst>
        </pc:spChg>
      </pc:sldChg>
      <pc:sldChg chg="modSp mod modCm">
        <pc:chgData name="Lars Tennbakk Bockman" userId="5a235df0-e381-4c4c-99ce-24b4b21fb9d1" providerId="ADAL" clId="{2A9B793B-E7F3-45B6-8056-E74BFFFEF538}" dt="2024-04-10T12:09:50.921" v="724" actId="20577"/>
        <pc:sldMkLst>
          <pc:docMk/>
          <pc:sldMk cId="964345901" sldId="269"/>
        </pc:sldMkLst>
        <pc:spChg chg="mod">
          <ac:chgData name="Lars Tennbakk Bockman" userId="5a235df0-e381-4c4c-99ce-24b4b21fb9d1" providerId="ADAL" clId="{2A9B793B-E7F3-45B6-8056-E74BFFFEF538}" dt="2024-04-10T12:09:50.921" v="724" actId="20577"/>
          <ac:spMkLst>
            <pc:docMk/>
            <pc:sldMk cId="964345901" sldId="269"/>
            <ac:spMk id="15" creationId="{04DCDA78-71F1-811A-A7B3-AF6C80100E58}"/>
          </ac:spMkLst>
        </pc:spChg>
        <pc:picChg chg="mod">
          <ac:chgData name="Lars Tennbakk Bockman" userId="5a235df0-e381-4c4c-99ce-24b4b21fb9d1" providerId="ADAL" clId="{2A9B793B-E7F3-45B6-8056-E74BFFFEF538}" dt="2024-04-10T10:11:04.831" v="0" actId="14826"/>
          <ac:picMkLst>
            <pc:docMk/>
            <pc:sldMk cId="964345901" sldId="269"/>
            <ac:picMk id="9" creationId="{D21B8C53-AA53-A852-4492-9BA4D601B04E}"/>
          </ac:picMkLst>
        </pc:picChg>
        <pc:extLst>
          <p:ext xmlns:p="http://schemas.openxmlformats.org/presentationml/2006/main" uri="{D6D511B9-2390-475A-947B-AFAB55BFBCF1}">
            <pc226:cmChg xmlns:pc226="http://schemas.microsoft.com/office/powerpoint/2022/06/main/command" chg="mod">
              <pc226:chgData name="Lars Tennbakk Bockman" userId="5a235df0-e381-4c4c-99ce-24b4b21fb9d1" providerId="ADAL" clId="{2A9B793B-E7F3-45B6-8056-E74BFFFEF538}" dt="2024-04-10T12:09:50.921" v="724" actId="20577"/>
              <pc2:cmMkLst xmlns:pc2="http://schemas.microsoft.com/office/powerpoint/2019/9/main/command">
                <pc:docMk/>
                <pc:sldMk cId="964345901" sldId="269"/>
                <pc2:cmMk id="{9A5C4123-9DEB-4AB8-94A5-0C33A2F94B75}"/>
              </pc2:cmMkLst>
            </pc226:cmChg>
          </p:ext>
        </pc:extLst>
      </pc:sldChg>
      <pc:sldChg chg="modSp mod">
        <pc:chgData name="Lars Tennbakk Bockman" userId="5a235df0-e381-4c4c-99ce-24b4b21fb9d1" providerId="ADAL" clId="{2A9B793B-E7F3-45B6-8056-E74BFFFEF538}" dt="2024-04-10T10:14:14.814" v="290" actId="20577"/>
        <pc:sldMkLst>
          <pc:docMk/>
          <pc:sldMk cId="4275014000" sldId="270"/>
        </pc:sldMkLst>
        <pc:spChg chg="mod">
          <ac:chgData name="Lars Tennbakk Bockman" userId="5a235df0-e381-4c4c-99ce-24b4b21fb9d1" providerId="ADAL" clId="{2A9B793B-E7F3-45B6-8056-E74BFFFEF538}" dt="2024-04-10T10:14:14.814" v="290" actId="20577"/>
          <ac:spMkLst>
            <pc:docMk/>
            <pc:sldMk cId="4275014000" sldId="270"/>
            <ac:spMk id="14" creationId="{21531C8D-908F-3C5D-76AA-208A0DF8D559}"/>
          </ac:spMkLst>
        </pc:spChg>
        <pc:picChg chg="mod">
          <ac:chgData name="Lars Tennbakk Bockman" userId="5a235df0-e381-4c4c-99ce-24b4b21fb9d1" providerId="ADAL" clId="{2A9B793B-E7F3-45B6-8056-E74BFFFEF538}" dt="2024-04-10T10:11:14.140" v="1" actId="14826"/>
          <ac:picMkLst>
            <pc:docMk/>
            <pc:sldMk cId="4275014000" sldId="270"/>
            <ac:picMk id="5" creationId="{1FC70556-B41D-FA15-EDBD-21B7105AEC8B}"/>
          </ac:picMkLst>
        </pc:picChg>
      </pc:sldChg>
      <pc:sldChg chg="modSp mod">
        <pc:chgData name="Lars Tennbakk Bockman" userId="5a235df0-e381-4c4c-99ce-24b4b21fb9d1" providerId="ADAL" clId="{2A9B793B-E7F3-45B6-8056-E74BFFFEF538}" dt="2024-04-10T12:57:51.231" v="1442" actId="20577"/>
        <pc:sldMkLst>
          <pc:docMk/>
          <pc:sldMk cId="4169780862" sldId="274"/>
        </pc:sldMkLst>
        <pc:graphicFrameChg chg="mod modGraphic">
          <ac:chgData name="Lars Tennbakk Bockman" userId="5a235df0-e381-4c4c-99ce-24b4b21fb9d1" providerId="ADAL" clId="{2A9B793B-E7F3-45B6-8056-E74BFFFEF538}" dt="2024-04-10T12:57:51.231" v="1442" actId="20577"/>
          <ac:graphicFrameMkLst>
            <pc:docMk/>
            <pc:sldMk cId="4169780862" sldId="274"/>
            <ac:graphicFrameMk id="3" creationId="{C11B810A-CBB4-85BA-0F71-0E261F64A84A}"/>
          </ac:graphicFrameMkLst>
        </pc:graphicFrameChg>
        <pc:graphicFrameChg chg="mod modGraphic">
          <ac:chgData name="Lars Tennbakk Bockman" userId="5a235df0-e381-4c4c-99ce-24b4b21fb9d1" providerId="ADAL" clId="{2A9B793B-E7F3-45B6-8056-E74BFFFEF538}" dt="2024-04-10T12:53:19.734" v="1167" actId="1076"/>
          <ac:graphicFrameMkLst>
            <pc:docMk/>
            <pc:sldMk cId="4169780862" sldId="274"/>
            <ac:graphicFrameMk id="6" creationId="{A5FA8CA4-FB71-6F80-A97D-20A8E46F25A5}"/>
          </ac:graphicFrameMkLst>
        </pc:graphicFrameChg>
        <pc:graphicFrameChg chg="modGraphic">
          <ac:chgData name="Lars Tennbakk Bockman" userId="5a235df0-e381-4c4c-99ce-24b4b21fb9d1" providerId="ADAL" clId="{2A9B793B-E7F3-45B6-8056-E74BFFFEF538}" dt="2024-04-10T12:55:52.886" v="1312" actId="20577"/>
          <ac:graphicFrameMkLst>
            <pc:docMk/>
            <pc:sldMk cId="4169780862" sldId="274"/>
            <ac:graphicFrameMk id="7" creationId="{2706DAED-C870-5851-E0A8-73F89F01C778}"/>
          </ac:graphicFrameMkLst>
        </pc:graphicFrameChg>
      </pc:sldChg>
      <pc:sldChg chg="modSp mod">
        <pc:chgData name="Lars Tennbakk Bockman" userId="5a235df0-e381-4c4c-99ce-24b4b21fb9d1" providerId="ADAL" clId="{2A9B793B-E7F3-45B6-8056-E74BFFFEF538}" dt="2024-04-10T10:16:53.063" v="586" actId="20577"/>
        <pc:sldMkLst>
          <pc:docMk/>
          <pc:sldMk cId="1400664593" sldId="275"/>
        </pc:sldMkLst>
        <pc:spChg chg="mod">
          <ac:chgData name="Lars Tennbakk Bockman" userId="5a235df0-e381-4c4c-99ce-24b4b21fb9d1" providerId="ADAL" clId="{2A9B793B-E7F3-45B6-8056-E74BFFFEF538}" dt="2024-04-10T10:16:53.063" v="586" actId="20577"/>
          <ac:spMkLst>
            <pc:docMk/>
            <pc:sldMk cId="1400664593" sldId="275"/>
            <ac:spMk id="13" creationId="{D3816D81-2F0C-5C31-0215-8B391B6646ED}"/>
          </ac:spMkLst>
        </pc:spChg>
      </pc:sldChg>
    </pc:docChg>
  </pc:docChgLst>
  <pc:docChgLst>
    <pc:chgData name="Lars Tennbakk Bockman" userId="5a235df0-e381-4c4c-99ce-24b4b21fb9d1" providerId="ADAL" clId="{37EF9059-D99C-4752-86C1-B8EAEF640EE7}"/>
    <pc:docChg chg="custSel modSld">
      <pc:chgData name="Lars Tennbakk Bockman" userId="5a235df0-e381-4c4c-99ce-24b4b21fb9d1" providerId="ADAL" clId="{37EF9059-D99C-4752-86C1-B8EAEF640EE7}" dt="2024-05-03T09:21:35.955" v="166" actId="2711"/>
      <pc:docMkLst>
        <pc:docMk/>
      </pc:docMkLst>
      <pc:sldChg chg="modSp mod">
        <pc:chgData name="Lars Tennbakk Bockman" userId="5a235df0-e381-4c4c-99ce-24b4b21fb9d1" providerId="ADAL" clId="{37EF9059-D99C-4752-86C1-B8EAEF640EE7}" dt="2024-05-03T09:14:57.274" v="49" actId="1076"/>
        <pc:sldMkLst>
          <pc:docMk/>
          <pc:sldMk cId="362544367" sldId="264"/>
        </pc:sldMkLst>
        <pc:spChg chg="mod">
          <ac:chgData name="Lars Tennbakk Bockman" userId="5a235df0-e381-4c4c-99ce-24b4b21fb9d1" providerId="ADAL" clId="{37EF9059-D99C-4752-86C1-B8EAEF640EE7}" dt="2024-05-03T09:14:57.274" v="49" actId="1076"/>
          <ac:spMkLst>
            <pc:docMk/>
            <pc:sldMk cId="362544367" sldId="264"/>
            <ac:spMk id="4" creationId="{113A1B97-60AB-A82D-7695-603B4FDE308B}"/>
          </ac:spMkLst>
        </pc:spChg>
        <pc:spChg chg="mod">
          <ac:chgData name="Lars Tennbakk Bockman" userId="5a235df0-e381-4c4c-99ce-24b4b21fb9d1" providerId="ADAL" clId="{37EF9059-D99C-4752-86C1-B8EAEF640EE7}" dt="2024-05-03T09:14:54.826" v="48" actId="1076"/>
          <ac:spMkLst>
            <pc:docMk/>
            <pc:sldMk cId="362544367" sldId="264"/>
            <ac:spMk id="27" creationId="{1D503F1E-631A-06BB-9FA6-AB5D4E68E9D8}"/>
          </ac:spMkLst>
        </pc:spChg>
        <pc:graphicFrameChg chg="mod modGraphic">
          <ac:chgData name="Lars Tennbakk Bockman" userId="5a235df0-e381-4c4c-99ce-24b4b21fb9d1" providerId="ADAL" clId="{37EF9059-D99C-4752-86C1-B8EAEF640EE7}" dt="2024-05-03T09:14:47.120" v="47" actId="113"/>
          <ac:graphicFrameMkLst>
            <pc:docMk/>
            <pc:sldMk cId="362544367" sldId="264"/>
            <ac:graphicFrameMk id="5" creationId="{131A36CF-B9F9-5E74-5113-847B2A062B33}"/>
          </ac:graphicFrameMkLst>
        </pc:graphicFrameChg>
      </pc:sldChg>
      <pc:sldChg chg="modSp mod">
        <pc:chgData name="Lars Tennbakk Bockman" userId="5a235df0-e381-4c4c-99ce-24b4b21fb9d1" providerId="ADAL" clId="{37EF9059-D99C-4752-86C1-B8EAEF640EE7}" dt="2024-05-03T09:12:48.498" v="40" actId="20577"/>
        <pc:sldMkLst>
          <pc:docMk/>
          <pc:sldMk cId="964345901" sldId="269"/>
        </pc:sldMkLst>
        <pc:spChg chg="mod">
          <ac:chgData name="Lars Tennbakk Bockman" userId="5a235df0-e381-4c4c-99ce-24b4b21fb9d1" providerId="ADAL" clId="{37EF9059-D99C-4752-86C1-B8EAEF640EE7}" dt="2024-05-03T09:12:48.498" v="40" actId="20577"/>
          <ac:spMkLst>
            <pc:docMk/>
            <pc:sldMk cId="964345901" sldId="269"/>
            <ac:spMk id="15" creationId="{04DCDA78-71F1-811A-A7B3-AF6C80100E58}"/>
          </ac:spMkLst>
        </pc:spChg>
        <pc:picChg chg="mod">
          <ac:chgData name="Lars Tennbakk Bockman" userId="5a235df0-e381-4c4c-99ce-24b4b21fb9d1" providerId="ADAL" clId="{37EF9059-D99C-4752-86C1-B8EAEF640EE7}" dt="2024-05-03T09:05:54.995" v="4" actId="14826"/>
          <ac:picMkLst>
            <pc:docMk/>
            <pc:sldMk cId="964345901" sldId="269"/>
            <ac:picMk id="4" creationId="{F1209CBB-C9AB-BA6E-3FAE-5B8063D6E61B}"/>
          </ac:picMkLst>
        </pc:picChg>
        <pc:picChg chg="mod">
          <ac:chgData name="Lars Tennbakk Bockman" userId="5a235df0-e381-4c4c-99ce-24b4b21fb9d1" providerId="ADAL" clId="{37EF9059-D99C-4752-86C1-B8EAEF640EE7}" dt="2024-05-03T09:01:41.941" v="0" actId="14826"/>
          <ac:picMkLst>
            <pc:docMk/>
            <pc:sldMk cId="964345901" sldId="269"/>
            <ac:picMk id="9" creationId="{D21B8C53-AA53-A852-4492-9BA4D601B04E}"/>
          </ac:picMkLst>
        </pc:picChg>
        <pc:picChg chg="mod">
          <ac:chgData name="Lars Tennbakk Bockman" userId="5a235df0-e381-4c4c-99ce-24b4b21fb9d1" providerId="ADAL" clId="{37EF9059-D99C-4752-86C1-B8EAEF640EE7}" dt="2024-05-03T09:05:50.635" v="3" actId="14826"/>
          <ac:picMkLst>
            <pc:docMk/>
            <pc:sldMk cId="964345901" sldId="269"/>
            <ac:picMk id="19" creationId="{48D81E10-A362-0BE0-5A29-09482A073F28}"/>
          </ac:picMkLst>
        </pc:picChg>
      </pc:sldChg>
      <pc:sldChg chg="modSp">
        <pc:chgData name="Lars Tennbakk Bockman" userId="5a235df0-e381-4c4c-99ce-24b4b21fb9d1" providerId="ADAL" clId="{37EF9059-D99C-4752-86C1-B8EAEF640EE7}" dt="2024-05-03T09:05:01.521" v="2" actId="14826"/>
        <pc:sldMkLst>
          <pc:docMk/>
          <pc:sldMk cId="4275014000" sldId="270"/>
        </pc:sldMkLst>
        <pc:picChg chg="mod">
          <ac:chgData name="Lars Tennbakk Bockman" userId="5a235df0-e381-4c4c-99ce-24b4b21fb9d1" providerId="ADAL" clId="{37EF9059-D99C-4752-86C1-B8EAEF640EE7}" dt="2024-05-03T09:05:01.521" v="2" actId="14826"/>
          <ac:picMkLst>
            <pc:docMk/>
            <pc:sldMk cId="4275014000" sldId="270"/>
            <ac:picMk id="4" creationId="{333A123B-CC7B-438C-45B1-FD90C4A986EA}"/>
          </ac:picMkLst>
        </pc:picChg>
        <pc:picChg chg="mod">
          <ac:chgData name="Lars Tennbakk Bockman" userId="5a235df0-e381-4c4c-99ce-24b4b21fb9d1" providerId="ADAL" clId="{37EF9059-D99C-4752-86C1-B8EAEF640EE7}" dt="2024-05-03T09:01:51.173" v="1" actId="14826"/>
          <ac:picMkLst>
            <pc:docMk/>
            <pc:sldMk cId="4275014000" sldId="270"/>
            <ac:picMk id="5" creationId="{1FC70556-B41D-FA15-EDBD-21B7105AEC8B}"/>
          </ac:picMkLst>
        </pc:picChg>
      </pc:sldChg>
      <pc:sldChg chg="addSp delSp modSp mod">
        <pc:chgData name="Lars Tennbakk Bockman" userId="5a235df0-e381-4c4c-99ce-24b4b21fb9d1" providerId="ADAL" clId="{37EF9059-D99C-4752-86C1-B8EAEF640EE7}" dt="2024-05-03T09:21:35.955" v="166" actId="2711"/>
        <pc:sldMkLst>
          <pc:docMk/>
          <pc:sldMk cId="4169780862" sldId="274"/>
        </pc:sldMkLst>
        <pc:graphicFrameChg chg="mod modGraphic">
          <ac:chgData name="Lars Tennbakk Bockman" userId="5a235df0-e381-4c4c-99ce-24b4b21fb9d1" providerId="ADAL" clId="{37EF9059-D99C-4752-86C1-B8EAEF640EE7}" dt="2024-05-03T09:15:50.910" v="55" actId="1076"/>
          <ac:graphicFrameMkLst>
            <pc:docMk/>
            <pc:sldMk cId="4169780862" sldId="274"/>
            <ac:graphicFrameMk id="3" creationId="{C11B810A-CBB4-85BA-0F71-0E261F64A84A}"/>
          </ac:graphicFrameMkLst>
        </pc:graphicFrameChg>
        <pc:graphicFrameChg chg="del">
          <ac:chgData name="Lars Tennbakk Bockman" userId="5a235df0-e381-4c4c-99ce-24b4b21fb9d1" providerId="ADAL" clId="{37EF9059-D99C-4752-86C1-B8EAEF640EE7}" dt="2024-05-03T09:15:45.278" v="54" actId="478"/>
          <ac:graphicFrameMkLst>
            <pc:docMk/>
            <pc:sldMk cId="4169780862" sldId="274"/>
            <ac:graphicFrameMk id="6" creationId="{A5FA8CA4-FB71-6F80-A97D-20A8E46F25A5}"/>
          </ac:graphicFrameMkLst>
        </pc:graphicFrameChg>
        <pc:graphicFrameChg chg="mod modGraphic">
          <ac:chgData name="Lars Tennbakk Bockman" userId="5a235df0-e381-4c4c-99ce-24b4b21fb9d1" providerId="ADAL" clId="{37EF9059-D99C-4752-86C1-B8EAEF640EE7}" dt="2024-05-03T09:21:35.955" v="166" actId="2711"/>
          <ac:graphicFrameMkLst>
            <pc:docMk/>
            <pc:sldMk cId="4169780862" sldId="274"/>
            <ac:graphicFrameMk id="7" creationId="{2706DAED-C870-5851-E0A8-73F89F01C778}"/>
          </ac:graphicFrameMkLst>
        </pc:graphicFrameChg>
        <pc:graphicFrameChg chg="add mod modGraphic">
          <ac:chgData name="Lars Tennbakk Bockman" userId="5a235df0-e381-4c4c-99ce-24b4b21fb9d1" providerId="ADAL" clId="{37EF9059-D99C-4752-86C1-B8EAEF640EE7}" dt="2024-05-03T09:18:01.375" v="91" actId="20577"/>
          <ac:graphicFrameMkLst>
            <pc:docMk/>
            <pc:sldMk cId="4169780862" sldId="274"/>
            <ac:graphicFrameMk id="8" creationId="{9D907BB4-9F15-FD3A-91D5-E60990E33FBE}"/>
          </ac:graphicFrameMkLst>
        </pc:graphicFrameChg>
      </pc:sldChg>
      <pc:sldChg chg="modSp mod">
        <pc:chgData name="Lars Tennbakk Bockman" userId="5a235df0-e381-4c4c-99ce-24b4b21fb9d1" providerId="ADAL" clId="{37EF9059-D99C-4752-86C1-B8EAEF640EE7}" dt="2024-05-03T09:12:25.161" v="24" actId="20577"/>
        <pc:sldMkLst>
          <pc:docMk/>
          <pc:sldMk cId="1400664593" sldId="275"/>
        </pc:sldMkLst>
        <pc:spChg chg="mod">
          <ac:chgData name="Lars Tennbakk Bockman" userId="5a235df0-e381-4c4c-99ce-24b4b21fb9d1" providerId="ADAL" clId="{37EF9059-D99C-4752-86C1-B8EAEF640EE7}" dt="2024-05-03T09:12:25.161" v="24" actId="20577"/>
          <ac:spMkLst>
            <pc:docMk/>
            <pc:sldMk cId="1400664593" sldId="275"/>
            <ac:spMk id="13" creationId="{D3816D81-2F0C-5C31-0215-8B391B6646ED}"/>
          </ac:spMkLst>
        </pc:spChg>
        <pc:picChg chg="mod">
          <ac:chgData name="Lars Tennbakk Bockman" userId="5a235df0-e381-4c4c-99ce-24b4b21fb9d1" providerId="ADAL" clId="{37EF9059-D99C-4752-86C1-B8EAEF640EE7}" dt="2024-05-03T09:11:38.673" v="5" actId="14826"/>
          <ac:picMkLst>
            <pc:docMk/>
            <pc:sldMk cId="1400664593" sldId="275"/>
            <ac:picMk id="10" creationId="{EDD2A1DB-03B4-A540-E2CF-68A1C96AF138}"/>
          </ac:picMkLst>
        </pc:picChg>
        <pc:picChg chg="mod">
          <ac:chgData name="Lars Tennbakk Bockman" userId="5a235df0-e381-4c4c-99ce-24b4b21fb9d1" providerId="ADAL" clId="{37EF9059-D99C-4752-86C1-B8EAEF640EE7}" dt="2024-05-03T09:11:49.958" v="6" actId="14826"/>
          <ac:picMkLst>
            <pc:docMk/>
            <pc:sldMk cId="1400664593" sldId="275"/>
            <ac:picMk id="12" creationId="{475A88D7-D294-62B2-8755-82110AB84DD1}"/>
          </ac:picMkLst>
        </pc:picChg>
        <pc:picChg chg="mod">
          <ac:chgData name="Lars Tennbakk Bockman" userId="5a235df0-e381-4c4c-99ce-24b4b21fb9d1" providerId="ADAL" clId="{37EF9059-D99C-4752-86C1-B8EAEF640EE7}" dt="2024-05-03T09:12:01.680" v="10" actId="1076"/>
          <ac:picMkLst>
            <pc:docMk/>
            <pc:sldMk cId="1400664593" sldId="275"/>
            <ac:picMk id="1026" creationId="{A3000F04-E780-98BA-A9F5-FBB1AD330F20}"/>
          </ac:picMkLst>
        </pc:picChg>
        <pc:picChg chg="mod">
          <ac:chgData name="Lars Tennbakk Bockman" userId="5a235df0-e381-4c4c-99ce-24b4b21fb9d1" providerId="ADAL" clId="{37EF9059-D99C-4752-86C1-B8EAEF640EE7}" dt="2024-05-03T09:11:55.138" v="7" actId="1076"/>
          <ac:picMkLst>
            <pc:docMk/>
            <pc:sldMk cId="1400664593" sldId="275"/>
            <ac:picMk id="1028" creationId="{7BD95610-1C21-5E69-CD9D-A797BAA38B11}"/>
          </ac:picMkLst>
        </pc:picChg>
        <pc:picChg chg="mod">
          <ac:chgData name="Lars Tennbakk Bockman" userId="5a235df0-e381-4c4c-99ce-24b4b21fb9d1" providerId="ADAL" clId="{37EF9059-D99C-4752-86C1-B8EAEF640EE7}" dt="2024-05-03T09:11:58.105" v="8" actId="1076"/>
          <ac:picMkLst>
            <pc:docMk/>
            <pc:sldMk cId="1400664593" sldId="275"/>
            <ac:picMk id="1030" creationId="{ACF3AF7C-A2DE-81CC-E858-516CB40827CE}"/>
          </ac:picMkLst>
        </pc:picChg>
        <pc:picChg chg="mod">
          <ac:chgData name="Lars Tennbakk Bockman" userId="5a235df0-e381-4c4c-99ce-24b4b21fb9d1" providerId="ADAL" clId="{37EF9059-D99C-4752-86C1-B8EAEF640EE7}" dt="2024-05-03T09:12:06.713" v="12" actId="1076"/>
          <ac:picMkLst>
            <pc:docMk/>
            <pc:sldMk cId="1400664593" sldId="275"/>
            <ac:picMk id="1032" creationId="{8EF0B950-C72C-D5A3-948A-06A2609A5B96}"/>
          </ac:picMkLst>
        </pc:picChg>
        <pc:picChg chg="mod">
          <ac:chgData name="Lars Tennbakk Bockman" userId="5a235df0-e381-4c4c-99ce-24b4b21fb9d1" providerId="ADAL" clId="{37EF9059-D99C-4752-86C1-B8EAEF640EE7}" dt="2024-05-03T09:12:03.656" v="11" actId="1076"/>
          <ac:picMkLst>
            <pc:docMk/>
            <pc:sldMk cId="1400664593" sldId="275"/>
            <ac:picMk id="1034" creationId="{93E8EE5C-F00F-9D19-55F8-6D26C9255442}"/>
          </ac:picMkLst>
        </pc:picChg>
      </pc:sldChg>
    </pc:docChg>
  </pc:docChgLst>
  <pc:docChgLst>
    <pc:chgData name="Iselin Ekeli Rønningsbakk" userId="187300ae-9cb6-416d-8a94-664ca977a24d" providerId="ADAL" clId="{F1D83740-C90A-443B-A813-B62DF0466D34}"/>
    <pc:docChg chg="">
      <pc:chgData name="Iselin Ekeli Rønningsbakk" userId="187300ae-9cb6-416d-8a94-664ca977a24d" providerId="ADAL" clId="{F1D83740-C90A-443B-A813-B62DF0466D34}" dt="2024-04-10T11:40:34.581" v="0"/>
      <pc:docMkLst>
        <pc:docMk/>
      </pc:docMkLst>
      <pc:sldChg chg="addCm">
        <pc:chgData name="Iselin Ekeli Rønningsbakk" userId="187300ae-9cb6-416d-8a94-664ca977a24d" providerId="ADAL" clId="{F1D83740-C90A-443B-A813-B62DF0466D34}" dt="2024-04-10T11:40:34.581" v="0"/>
        <pc:sldMkLst>
          <pc:docMk/>
          <pc:sldMk cId="964345901" sldId="269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Iselin Ekeli Rønningsbakk" userId="187300ae-9cb6-416d-8a94-664ca977a24d" providerId="ADAL" clId="{F1D83740-C90A-443B-A813-B62DF0466D34}" dt="2024-04-10T11:40:34.581" v="0"/>
              <pc2:cmMkLst xmlns:pc2="http://schemas.microsoft.com/office/powerpoint/2019/9/main/command">
                <pc:docMk/>
                <pc:sldMk cId="964345901" sldId="269"/>
                <pc2:cmMk id="{9A5C4123-9DEB-4AB8-94A5-0C33A2F94B75}"/>
              </pc2:cmMkLst>
            </pc226:cmChg>
          </p:ext>
        </pc:extLst>
      </pc:sldChg>
    </pc:docChg>
  </pc:docChgLst>
  <pc:docChgLst>
    <pc:chgData name="Iselin Ekeli Rønningsbakk" userId="187300ae-9cb6-416d-8a94-664ca977a24d" providerId="ADAL" clId="{9B70D854-A452-4942-8D56-AD61F5B81B85}"/>
    <pc:docChg chg="modSld">
      <pc:chgData name="Iselin Ekeli Rønningsbakk" userId="187300ae-9cb6-416d-8a94-664ca977a24d" providerId="ADAL" clId="{9B70D854-A452-4942-8D56-AD61F5B81B85}" dt="2024-04-11T12:51:18.637" v="644" actId="6549"/>
      <pc:docMkLst>
        <pc:docMk/>
      </pc:docMkLst>
      <pc:sldChg chg="modSp mod">
        <pc:chgData name="Iselin Ekeli Rønningsbakk" userId="187300ae-9cb6-416d-8a94-664ca977a24d" providerId="ADAL" clId="{9B70D854-A452-4942-8D56-AD61F5B81B85}" dt="2024-04-11T12:51:18.637" v="644" actId="6549"/>
        <pc:sldMkLst>
          <pc:docMk/>
          <pc:sldMk cId="362544367" sldId="264"/>
        </pc:sldMkLst>
        <pc:spChg chg="mod">
          <ac:chgData name="Iselin Ekeli Rønningsbakk" userId="187300ae-9cb6-416d-8a94-664ca977a24d" providerId="ADAL" clId="{9B70D854-A452-4942-8D56-AD61F5B81B85}" dt="2024-04-11T12:51:18.637" v="644" actId="6549"/>
          <ac:spMkLst>
            <pc:docMk/>
            <pc:sldMk cId="362544367" sldId="264"/>
            <ac:spMk id="2" creationId="{5213922F-444B-9587-AFC4-5C4C6A8D8FDB}"/>
          </ac:spMkLst>
        </pc:spChg>
      </pc:sldChg>
      <pc:sldChg chg="modSp mod">
        <pc:chgData name="Iselin Ekeli Rønningsbakk" userId="187300ae-9cb6-416d-8a94-664ca977a24d" providerId="ADAL" clId="{9B70D854-A452-4942-8D56-AD61F5B81B85}" dt="2024-04-11T12:50:32.816" v="633" actId="20577"/>
        <pc:sldMkLst>
          <pc:docMk/>
          <pc:sldMk cId="3809428704" sldId="268"/>
        </pc:sldMkLst>
        <pc:spChg chg="mod">
          <ac:chgData name="Iselin Ekeli Rønningsbakk" userId="187300ae-9cb6-416d-8a94-664ca977a24d" providerId="ADAL" clId="{9B70D854-A452-4942-8D56-AD61F5B81B85}" dt="2024-04-11T12:50:32.816" v="633" actId="20577"/>
          <ac:spMkLst>
            <pc:docMk/>
            <pc:sldMk cId="3809428704" sldId="268"/>
            <ac:spMk id="3" creationId="{8A3EFEB1-D7F7-A46E-7DED-AE462CEAB1A0}"/>
          </ac:spMkLst>
        </pc:spChg>
        <pc:spChg chg="mod">
          <ac:chgData name="Iselin Ekeli Rønningsbakk" userId="187300ae-9cb6-416d-8a94-664ca977a24d" providerId="ADAL" clId="{9B70D854-A452-4942-8D56-AD61F5B81B85}" dt="2024-04-11T12:45:29.224" v="11" actId="6549"/>
          <ac:spMkLst>
            <pc:docMk/>
            <pc:sldMk cId="3809428704" sldId="268"/>
            <ac:spMk id="27" creationId="{D4479EF9-3012-3964-A9D0-6C16A3C05105}"/>
          </ac:spMkLst>
        </pc:spChg>
      </pc:sldChg>
      <pc:sldChg chg="addCm">
        <pc:chgData name="Iselin Ekeli Rønningsbakk" userId="187300ae-9cb6-416d-8a94-664ca977a24d" providerId="ADAL" clId="{9B70D854-A452-4942-8D56-AD61F5B81B85}" dt="2024-04-11T12:45:09.778" v="0"/>
        <pc:sldMkLst>
          <pc:docMk/>
          <pc:sldMk cId="1400664593" sldId="275"/>
        </pc:sldMkLst>
        <pc:extLst>
          <p:ext xmlns:p="http://schemas.openxmlformats.org/presentationml/2006/main" uri="{D6D511B9-2390-475A-947B-AFAB55BFBCF1}">
            <pc226:cmChg xmlns:pc226="http://schemas.microsoft.com/office/powerpoint/2022/06/main/command" chg="add">
              <pc226:chgData name="Iselin Ekeli Rønningsbakk" userId="187300ae-9cb6-416d-8a94-664ca977a24d" providerId="ADAL" clId="{9B70D854-A452-4942-8D56-AD61F5B81B85}" dt="2024-04-11T12:45:09.778" v="0"/>
              <pc2:cmMkLst xmlns:pc2="http://schemas.microsoft.com/office/powerpoint/2019/9/main/command">
                <pc:docMk/>
                <pc:sldMk cId="1400664593" sldId="275"/>
                <pc2:cmMk id="{88310999-6D15-4D15-AFB5-1F5C87EC1C7F}"/>
              </pc2:cmMkLst>
            </pc226:cmChg>
          </p:ext>
        </pc:extLst>
      </pc:sldChg>
    </pc:docChg>
  </pc:docChgLst>
</pc:chgInfo>
</file>

<file path=ppt/comments/modernComment_10C_E30F44E0.xml><?xml version="1.0" encoding="utf-8"?>
<p188:cmLst xmlns:a="http://schemas.openxmlformats.org/drawingml/2006/main" xmlns:r="http://schemas.openxmlformats.org/officeDocument/2006/relationships" xmlns:p188="http://schemas.microsoft.com/office/powerpoint/2018/8/main">
  <p188:cm id="{97225C20-E4DC-4851-AA9D-66978ACF5BAB}" authorId="{5E3A118B-92BF-8F94-E3E6-76E6F07C9213}" created="2024-05-08T11:07:19.695" startDate="2024-05-08T11:07:19.695" dueDate="2024-05-08T11:07:19.695" assignedTo="{D7921274-A243-60C3-8DB0-D7227B1AC670}" title="Gjelder dette bare for Nord-Norge eller for hele landet i slutte av april, @Lars Tennbakk Bockman ?">
    <ac:txMkLst xmlns:ac="http://schemas.microsoft.com/office/drawing/2013/main/command">
      <pc:docMk xmlns:pc="http://schemas.microsoft.com/office/powerpoint/2013/main/command"/>
      <pc:sldMk xmlns:pc="http://schemas.microsoft.com/office/powerpoint/2013/main/command" cId="3809428704" sldId="268"/>
      <ac:spMk id="3" creationId="{8A3EFEB1-D7F7-A46E-7DED-AE462CEAB1A0}"/>
      <ac:txMk cp="500" len="18">
        <ac:context len="931" hash="2349243479"/>
      </ac:txMk>
    </ac:txMkLst>
    <p188:pos x="1420411" y="2309286"/>
    <p188:replyLst>
      <p188:reply id="{18A6AE06-4812-45F8-A912-92D8A8CB7EBF}" authorId="{D7921274-A243-60C3-8DB0-D7227B1AC670}" created="2024-05-13T07:45:51.381">
        <p188:txBody>
          <a:bodyPr/>
          <a:lstStyle/>
          <a:p>
            <a:r>
              <a:rPr lang="nb-NO"/>
              <a:t>Hele landet, men det har naturligvis større påvirkning på prisområdene som er mer direkte tilknyttet Finland</a:t>
            </a:r>
          </a:p>
        </p188:txBody>
      </p188:reply>
    </p188:replyLst>
    <p188:txBody>
      <a:bodyPr/>
      <a:lstStyle/>
      <a:p>
        <a:r>
          <a:rPr lang="nb-NO"/>
          <a:t>Gjelder dette bare for Nord-Norge eller for hele landet i slutte av april, [@Lars Tennbakk Bockman] ?</a:t>
        </a:r>
      </a:p>
    </p188:txBody>
    <p188:extLst>
      <p:ext xmlns:p="http://schemas.openxmlformats.org/presentationml/2006/main" uri="{5BB2D875-25FF-4072-B9AC-8F64D62656EB}">
        <p228:taskDetails xmlns:p228="http://schemas.microsoft.com/office/powerpoint/2022/08/main">
          <p228:history>
            <p228:event time="2024-05-08T11:07:19.695" id="{5684D9AC-B99C-4CCF-A5A2-2090AF64DCF4}">
              <p228:atrbtn authorId="{5E3A118B-92BF-8F94-E3E6-76E6F07C9213}"/>
              <p228:anchr>
                <p228:comment id="{97225C20-E4DC-4851-AA9D-66978ACF5BAB}"/>
              </p228:anchr>
              <p228:add/>
            </p228:event>
            <p228:event time="2024-05-08T11:07:19.695" id="{6E8F4C79-DFB2-4ED1-882C-9D60A73F6378}">
              <p228:atrbtn authorId="{5E3A118B-92BF-8F94-E3E6-76E6F07C9213}"/>
              <p228:anchr>
                <p228:comment id="{97225C20-E4DC-4851-AA9D-66978ACF5BAB}"/>
              </p228:anchr>
              <p228:asgn authorId="{D7921274-A243-60C3-8DB0-D7227B1AC670}"/>
            </p228:event>
            <p228:event time="2024-05-08T11:07:19.695" id="{40ACBCC9-7C7F-470A-9C23-11575F2D938D}">
              <p228:atrbtn authorId="{5E3A118B-92BF-8F94-E3E6-76E6F07C9213}"/>
              <p228:anchr>
                <p228:comment id="{97225C20-E4DC-4851-AA9D-66978ACF5BAB}"/>
              </p228:anchr>
              <p228:title val="Gjelder dette bare for Nord-Norge eller for hele landet i slutte av april, @Lars Tennbakk Bockman ?"/>
            </p228:event>
            <p228:event time="2024-05-08T11:07:19.695" id="{5644B985-C173-4E91-8FD2-6D8421ED4FEF}">
              <p228:atrbtn authorId="{5E3A118B-92BF-8F94-E3E6-76E6F07C9213}"/>
              <p228:anchr>
                <p228:comment id="{97225C20-E4DC-4851-AA9D-66978ACF5BAB}"/>
              </p228:anchr>
              <p228:date stDt="2024-05-08T11:07:19.695" endDt="2024-05-08T11:07:19.695"/>
            </p228:event>
          </p228:history>
        </p228:taskDetails>
      </p:ext>
      <p:ext xmlns:p="http://schemas.openxmlformats.org/presentationml/2006/main" uri="{57CB4572-C831-44C2-8A1C-0ADB6CCDFE69}">
        <p223:reactions xmlns:p223="http://schemas.microsoft.com/office/powerpoint/2022/03/main">
          <p223:rxn type="👍">
            <p223:instance time="2024-05-13T09:04:11.839" authorId="{5E3A118B-92BF-8F94-E3E6-76E6F07C9213}"/>
          </p223:rxn>
        </p223:reactions>
      </p:ext>
    </p188:extLst>
  </p188:cm>
</p188:cmLst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6177491" cy="490409"/>
          </a:xfrm>
          <a:prstGeom prst="rect">
            <a:avLst/>
          </a:prstGeom>
        </p:spPr>
        <p:txBody>
          <a:bodyPr vert="horz" lIns="133795" tIns="66898" rIns="133795" bIns="66898" rtlCol="0"/>
          <a:lstStyle>
            <a:lvl1pPr algn="l">
              <a:defRPr sz="18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8074962" y="0"/>
            <a:ext cx="6177491" cy="490409"/>
          </a:xfrm>
          <a:prstGeom prst="rect">
            <a:avLst/>
          </a:prstGeom>
        </p:spPr>
        <p:txBody>
          <a:bodyPr vert="horz" lIns="133795" tIns="66898" rIns="133795" bIns="66898" rtlCol="0"/>
          <a:lstStyle>
            <a:lvl1pPr algn="r">
              <a:defRPr sz="1800"/>
            </a:lvl1pPr>
          </a:lstStyle>
          <a:p>
            <a:fld id="{01329E2F-4686-4F18-A9A7-D08BDCF84B80}" type="datetimeFigureOut">
              <a:rPr lang="nb-NO" smtClean="0"/>
              <a:t>13.05.2024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4176713" y="1222375"/>
            <a:ext cx="5902325" cy="32988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3795" tIns="66898" rIns="133795" bIns="66898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1425576" y="4703851"/>
            <a:ext cx="11404599" cy="3848607"/>
          </a:xfrm>
          <a:prstGeom prst="rect">
            <a:avLst/>
          </a:prstGeom>
        </p:spPr>
        <p:txBody>
          <a:bodyPr vert="horz" lIns="133795" tIns="66898" rIns="133795" bIns="66898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1" y="9283831"/>
            <a:ext cx="6177491" cy="490409"/>
          </a:xfrm>
          <a:prstGeom prst="rect">
            <a:avLst/>
          </a:prstGeom>
        </p:spPr>
        <p:txBody>
          <a:bodyPr vert="horz" lIns="133795" tIns="66898" rIns="133795" bIns="66898" rtlCol="0" anchor="b"/>
          <a:lstStyle>
            <a:lvl1pPr algn="l">
              <a:defRPr sz="18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8074962" y="9283831"/>
            <a:ext cx="6177491" cy="490409"/>
          </a:xfrm>
          <a:prstGeom prst="rect">
            <a:avLst/>
          </a:prstGeom>
        </p:spPr>
        <p:txBody>
          <a:bodyPr vert="horz" lIns="133795" tIns="66898" rIns="133795" bIns="66898" rtlCol="0" anchor="b"/>
          <a:lstStyle>
            <a:lvl1pPr algn="r">
              <a:defRPr sz="1800"/>
            </a:lvl1pPr>
          </a:lstStyle>
          <a:p>
            <a:fld id="{988FB815-4B74-45D9-A47D-33C36308A6D8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1557526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1pPr>
    <a:lvl2pPr marL="342123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2pPr>
    <a:lvl3pPr marL="684246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3pPr>
    <a:lvl4pPr marL="1026368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4pPr>
    <a:lvl5pPr marL="1368491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5pPr>
    <a:lvl6pPr marL="1710614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6pPr>
    <a:lvl7pPr marL="2052737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7pPr>
    <a:lvl8pPr marL="2394859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8pPr>
    <a:lvl9pPr marL="2736982" algn="l" defTabSz="684246" rtl="0" eaLnBrk="1" latinLnBrk="0" hangingPunct="1">
      <a:defRPr sz="898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8FB815-4B74-45D9-A47D-33C36308A6D8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554326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88FB815-4B74-45D9-A47D-33C36308A6D8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337052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9.svg"/><Relationship Id="rId4" Type="http://schemas.openxmlformats.org/officeDocument/2006/relationships/image" Target="../media/image18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7" Type="http://schemas.openxmlformats.org/officeDocument/2006/relationships/image" Target="../media/image3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2.png"/><Relationship Id="rId5" Type="http://schemas.openxmlformats.org/officeDocument/2006/relationships/image" Target="../media/image5.sv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sv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9.svg"/><Relationship Id="rId4" Type="http://schemas.openxmlformats.org/officeDocument/2006/relationships/image" Target="../media/image8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ktangel 6">
            <a:extLst>
              <a:ext uri="{FF2B5EF4-FFF2-40B4-BE49-F238E27FC236}">
                <a16:creationId xmlns:a16="http://schemas.microsoft.com/office/drawing/2014/main" id="{93A1E326-C424-77C0-6978-2ECBD0AFF397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044874A-FADC-7682-CE1B-D61B44B0B0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15CFC04B-ED1B-B55D-9BD9-0AD91F8A24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7235" b="36013"/>
          <a:stretch/>
        </p:blipFill>
        <p:spPr>
          <a:xfrm>
            <a:off x="736688" y="1"/>
            <a:ext cx="8337600" cy="5111750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189EBC06-125D-02E3-7D7F-05ADCD9166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57" y="2039874"/>
            <a:ext cx="6495086" cy="498598"/>
          </a:xfrm>
        </p:spPr>
        <p:txBody>
          <a:bodyPr wrap="square" lIns="0" tIns="0" rIns="0" bIns="0" anchor="t">
            <a:spAutoFit/>
          </a:bodyPr>
          <a:lstStyle>
            <a:lvl1pPr algn="l">
              <a:defRPr sz="36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8A9128B6-D639-84D6-CE51-229DD113EC9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57" y="2713880"/>
            <a:ext cx="6495086" cy="193899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0681BD6-E2BE-C975-4AF7-B057CF7B90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57" y="3126755"/>
            <a:ext cx="2057400" cy="153888"/>
          </a:xfrm>
        </p:spPr>
        <p:txBody>
          <a:bodyPr lIns="0" tIns="0" rIns="0" bIns="0"/>
          <a:lstStyle>
            <a:lvl1pPr>
              <a:defRPr sz="1000"/>
            </a:lvl1pPr>
          </a:lstStyle>
          <a:p>
            <a:r>
              <a:rPr lang="nb-NO"/>
              <a:t>Oslo, dd.mm.yyyy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9C3D943-CF29-F519-F396-74A07D368C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  <p:pic>
        <p:nvPicPr>
          <p:cNvPr id="8" name="Grafikk 7">
            <a:extLst>
              <a:ext uri="{FF2B5EF4-FFF2-40B4-BE49-F238E27FC236}">
                <a16:creationId xmlns:a16="http://schemas.microsoft.com/office/drawing/2014/main" id="{1FB3283B-FF68-DC05-E013-0F72BC5F0DE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7257" y="457257"/>
            <a:ext cx="1530000" cy="370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860951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#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7824682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BE070B99-CC43-42C1-97F9-A8177AA17C4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578981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7" name="Plassholder for tekst 9">
            <a:extLst>
              <a:ext uri="{FF2B5EF4-FFF2-40B4-BE49-F238E27FC236}">
                <a16:creationId xmlns:a16="http://schemas.microsoft.com/office/drawing/2014/main" id="{FF592D73-2BB9-D0DD-9066-E29A731483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8979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33340764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#4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k 2">
            <a:extLst>
              <a:ext uri="{FF2B5EF4-FFF2-40B4-BE49-F238E27FC236}">
                <a16:creationId xmlns:a16="http://schemas.microsoft.com/office/drawing/2014/main" id="{BEE2BB55-7571-3411-2E34-E5B91C6BF44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12702" r="19833" b="8048"/>
          <a:stretch/>
        </p:blipFill>
        <p:spPr>
          <a:xfrm>
            <a:off x="275326" y="0"/>
            <a:ext cx="8868674" cy="5111750"/>
          </a:xfrm>
          <a:prstGeom prst="rect">
            <a:avLst/>
          </a:prstGeom>
        </p:spPr>
      </p:pic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0058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7824682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BE070B99-CC43-42C1-97F9-A8177AA17C4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578981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7" name="Plassholder for tekst 9">
            <a:extLst>
              <a:ext uri="{FF2B5EF4-FFF2-40B4-BE49-F238E27FC236}">
                <a16:creationId xmlns:a16="http://schemas.microsoft.com/office/drawing/2014/main" id="{FF592D73-2BB9-D0DD-9066-E29A731483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8979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6939634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#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FE727192-E739-041D-CB81-5E90EF320E51}"/>
              </a:ext>
            </a:extLst>
          </p:cNvPr>
          <p:cNvSpPr/>
          <p:nvPr userDrawn="1"/>
        </p:nvSpPr>
        <p:spPr>
          <a:xfrm>
            <a:off x="0" y="0"/>
            <a:ext cx="4572000" cy="5111750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8" y="1368170"/>
            <a:ext cx="3702960" cy="876266"/>
          </a:xfrm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479617"/>
            <a:ext cx="3702960" cy="1749484"/>
          </a:xfrm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BE070B99-CC43-42C1-97F9-A8177AA17C4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5036180" y="2479616"/>
            <a:ext cx="3245759" cy="1749484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2" name="Grafikk 1">
            <a:extLst>
              <a:ext uri="{FF2B5EF4-FFF2-40B4-BE49-F238E27FC236}">
                <a16:creationId xmlns:a16="http://schemas.microsoft.com/office/drawing/2014/main" id="{7031CF78-9F44-2D1C-EB1A-80013EA5809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77B5B3D8-2294-84AC-EF16-BE5723C6779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036180" y="1368171"/>
            <a:ext cx="3245759" cy="87626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400"/>
            </a:lvl1pPr>
          </a:lstStyle>
          <a:p>
            <a:pPr lvl="0"/>
            <a:r>
              <a:rPr lang="nb-NO"/>
              <a:t>Klikk for å legge til tittel</a:t>
            </a:r>
          </a:p>
        </p:txBody>
      </p:sp>
    </p:spTree>
    <p:extLst>
      <p:ext uri="{BB962C8B-B14F-4D97-AF65-F5344CB8AC3E}">
        <p14:creationId xmlns:p14="http://schemas.microsoft.com/office/powerpoint/2010/main" val="140275880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, tekst og bil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lassholder for bilde 11">
            <a:extLst>
              <a:ext uri="{FF2B5EF4-FFF2-40B4-BE49-F238E27FC236}">
                <a16:creationId xmlns:a16="http://schemas.microsoft.com/office/drawing/2014/main" id="{183ABFD2-3904-4789-1324-422C0363621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72426" y="0"/>
            <a:ext cx="3471575" cy="5111751"/>
          </a:xfrm>
          <a:custGeom>
            <a:avLst/>
            <a:gdLst>
              <a:gd name="connsiteX0" fmla="*/ 907563 w 3471575"/>
              <a:gd name="connsiteY0" fmla="*/ 0 h 5111751"/>
              <a:gd name="connsiteX1" fmla="*/ 3471575 w 3471575"/>
              <a:gd name="connsiteY1" fmla="*/ 0 h 5111751"/>
              <a:gd name="connsiteX2" fmla="*/ 3471575 w 3471575"/>
              <a:gd name="connsiteY2" fmla="*/ 5111751 h 5111751"/>
              <a:gd name="connsiteX3" fmla="*/ 1241407 w 3471575"/>
              <a:gd name="connsiteY3" fmla="*/ 5111751 h 5111751"/>
              <a:gd name="connsiteX4" fmla="*/ 220495 w 3471575"/>
              <a:gd name="connsiteY4" fmla="*/ 2846952 h 5111751"/>
              <a:gd name="connsiteX5" fmla="*/ 501 w 3471575"/>
              <a:gd name="connsiteY5" fmla="*/ 1900596 h 5111751"/>
              <a:gd name="connsiteX6" fmla="*/ 907563 w 3471575"/>
              <a:gd name="connsiteY6" fmla="*/ 0 h 5111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471575" h="5111751">
                <a:moveTo>
                  <a:pt x="907563" y="0"/>
                </a:moveTo>
                <a:lnTo>
                  <a:pt x="3471575" y="0"/>
                </a:lnTo>
                <a:lnTo>
                  <a:pt x="3471575" y="5111751"/>
                </a:lnTo>
                <a:lnTo>
                  <a:pt x="1241407" y="5111751"/>
                </a:lnTo>
                <a:lnTo>
                  <a:pt x="220495" y="2846952"/>
                </a:lnTo>
                <a:cubicBezTo>
                  <a:pt x="85574" y="2559052"/>
                  <a:pt x="7368" y="2238853"/>
                  <a:pt x="501" y="1900596"/>
                </a:cubicBezTo>
                <a:cubicBezTo>
                  <a:pt x="-15267" y="1129981"/>
                  <a:pt x="342445" y="438844"/>
                  <a:pt x="907563" y="0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504615">
            <a:no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4476693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4476693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4476693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246497681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tekst og bilde #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3582448" cy="465449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9362" y="1110634"/>
            <a:ext cx="4476693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9362" y="2081047"/>
            <a:ext cx="4476693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69362" y="1809436"/>
            <a:ext cx="4476693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5" name="Plassholder for tekst 13">
            <a:extLst>
              <a:ext uri="{FF2B5EF4-FFF2-40B4-BE49-F238E27FC236}">
                <a16:creationId xmlns:a16="http://schemas.microsoft.com/office/drawing/2014/main" id="{013FA124-367D-FBCA-FBBA-333BDE76BD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56" y="457257"/>
            <a:ext cx="1202400" cy="291107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pic>
        <p:nvPicPr>
          <p:cNvPr id="19" name="Grafikk 18">
            <a:extLst>
              <a:ext uri="{FF2B5EF4-FFF2-40B4-BE49-F238E27FC236}">
                <a16:creationId xmlns:a16="http://schemas.microsoft.com/office/drawing/2014/main" id="{836B93EF-C490-5A81-6A58-3BD0EC70A26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r="39186" b="62840"/>
          <a:stretch/>
        </p:blipFill>
        <p:spPr>
          <a:xfrm>
            <a:off x="5912587" y="3639012"/>
            <a:ext cx="3231413" cy="10154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86336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tekst og bilde #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k 9">
            <a:extLst>
              <a:ext uri="{FF2B5EF4-FFF2-40B4-BE49-F238E27FC236}">
                <a16:creationId xmlns:a16="http://schemas.microsoft.com/office/drawing/2014/main" id="{BD4153EE-7C08-07D3-CF05-460E299038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8669" t="12701" r="8676" b="15138"/>
          <a:stretch/>
        </p:blipFill>
        <p:spPr>
          <a:xfrm>
            <a:off x="0" y="0"/>
            <a:ext cx="9144000" cy="4654493"/>
          </a:xfrm>
          <a:prstGeom prst="rect">
            <a:avLst/>
          </a:prstGeom>
        </p:spPr>
      </p:pic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3582448" cy="4654493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80F1C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9362" y="1110634"/>
            <a:ext cx="4476693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9362" y="2081047"/>
            <a:ext cx="4476693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69362" y="1809436"/>
            <a:ext cx="4476693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5" name="Plassholder for tekst 13">
            <a:extLst>
              <a:ext uri="{FF2B5EF4-FFF2-40B4-BE49-F238E27FC236}">
                <a16:creationId xmlns:a16="http://schemas.microsoft.com/office/drawing/2014/main" id="{013FA124-367D-FBCA-FBBA-333BDE76BD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56" y="457257"/>
            <a:ext cx="1202400" cy="291107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0556300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tekst og bilde #4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fikk 2">
            <a:extLst>
              <a:ext uri="{FF2B5EF4-FFF2-40B4-BE49-F238E27FC236}">
                <a16:creationId xmlns:a16="http://schemas.microsoft.com/office/drawing/2014/main" id="{21183325-5D0B-B443-6613-47C611FAF1D8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1430" t="26336" r="10537"/>
          <a:stretch/>
        </p:blipFill>
        <p:spPr>
          <a:xfrm>
            <a:off x="0" y="0"/>
            <a:ext cx="9144000" cy="3499421"/>
          </a:xfrm>
          <a:prstGeom prst="rect">
            <a:avLst/>
          </a:prstGeom>
        </p:spPr>
      </p:pic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3582448" cy="4654493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5F00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69362" y="1110634"/>
            <a:ext cx="4476693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369362" y="2081047"/>
            <a:ext cx="4476693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369362" y="1809436"/>
            <a:ext cx="4476693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5" name="Plassholder for tekst 13">
            <a:extLst>
              <a:ext uri="{FF2B5EF4-FFF2-40B4-BE49-F238E27FC236}">
                <a16:creationId xmlns:a16="http://schemas.microsoft.com/office/drawing/2014/main" id="{013FA124-367D-FBCA-FBBA-333BDE76BD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56" y="457257"/>
            <a:ext cx="1202400" cy="291107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179443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tekst og bilde #5">
    <p:bg>
      <p:bgPr>
        <a:solidFill>
          <a:srgbClr val="5F00C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571428" y="0"/>
            <a:ext cx="4572572" cy="4654492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4" name="Plassholder for tekst 12">
            <a:extLst>
              <a:ext uri="{FF2B5EF4-FFF2-40B4-BE49-F238E27FC236}">
                <a16:creationId xmlns:a16="http://schemas.microsoft.com/office/drawing/2014/main" id="{00969560-B406-A3F9-3583-A403A675DEC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0" y="0"/>
            <a:ext cx="5438103" cy="4657748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chemeClr val="dk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8" y="1110634"/>
            <a:ext cx="3648018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8" y="2081047"/>
            <a:ext cx="3648018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8" y="1809436"/>
            <a:ext cx="3648018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pic>
        <p:nvPicPr>
          <p:cNvPr id="17" name="Grafikk 16">
            <a:extLst>
              <a:ext uri="{FF2B5EF4-FFF2-40B4-BE49-F238E27FC236}">
                <a16:creationId xmlns:a16="http://schemas.microsoft.com/office/drawing/2014/main" id="{C2CA1454-1993-8B75-66B5-A59F401C8023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883169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k 3">
            <a:extLst>
              <a:ext uri="{FF2B5EF4-FFF2-40B4-BE49-F238E27FC236}">
                <a16:creationId xmlns:a16="http://schemas.microsoft.com/office/drawing/2014/main" id="{5733D159-5E6A-C22F-C226-0B15D57CB2F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26948" r="20214" b="11741"/>
          <a:stretch/>
        </p:blipFill>
        <p:spPr>
          <a:xfrm>
            <a:off x="889095" y="0"/>
            <a:ext cx="8254905" cy="4654493"/>
          </a:xfrm>
          <a:prstGeom prst="rect">
            <a:avLst/>
          </a:prstGeom>
        </p:spPr>
      </p:pic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3582448" cy="4654493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5F00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5" name="Plassholder for tekst 13">
            <a:extLst>
              <a:ext uri="{FF2B5EF4-FFF2-40B4-BE49-F238E27FC236}">
                <a16:creationId xmlns:a16="http://schemas.microsoft.com/office/drawing/2014/main" id="{013FA124-367D-FBCA-FBBA-333BDE76BD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56" y="457257"/>
            <a:ext cx="1202400" cy="291107"/>
          </a:xfrm>
          <a:prstGeom prst="rect">
            <a:avLst/>
          </a:prstGeom>
          <a:blipFill dpi="0"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808640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e #2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lassholder for bilde 10">
            <a:extLst>
              <a:ext uri="{FF2B5EF4-FFF2-40B4-BE49-F238E27FC236}">
                <a16:creationId xmlns:a16="http://schemas.microsoft.com/office/drawing/2014/main" id="{034FCCF1-F6C5-D73C-8B8A-54D3FCF293C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0"/>
            <a:ext cx="3582448" cy="4654493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5F00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5" name="Plassholder for tekst 13">
            <a:extLst>
              <a:ext uri="{FF2B5EF4-FFF2-40B4-BE49-F238E27FC236}">
                <a16:creationId xmlns:a16="http://schemas.microsoft.com/office/drawing/2014/main" id="{013FA124-367D-FBCA-FBBA-333BDE76BD6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56" y="457257"/>
            <a:ext cx="1202400" cy="291107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rgbClr val="000000"/>
                </a:solidFill>
              </a:defRPr>
            </a:lvl1pPr>
            <a:lvl2pPr>
              <a:defRPr sz="100">
                <a:solidFill>
                  <a:srgbClr val="000000"/>
                </a:solidFill>
              </a:defRPr>
            </a:lvl2pPr>
            <a:lvl3pPr>
              <a:defRPr sz="100">
                <a:solidFill>
                  <a:srgbClr val="000000"/>
                </a:solidFill>
              </a:defRPr>
            </a:lvl3pPr>
            <a:lvl4pPr>
              <a:defRPr sz="100">
                <a:solidFill>
                  <a:srgbClr val="000000"/>
                </a:solidFill>
              </a:defRPr>
            </a:lvl4pPr>
            <a:lvl5pPr>
              <a:defRPr sz="100">
                <a:solidFill>
                  <a:srgbClr val="000000"/>
                </a:solidFill>
              </a:defRPr>
            </a:lvl5pPr>
          </a:lstStyle>
          <a:p>
            <a:pPr lvl="0"/>
            <a:r>
              <a:rPr lang="nb-NO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579109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tellys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fikk 16">
            <a:extLst>
              <a:ext uri="{FF2B5EF4-FFF2-40B4-BE49-F238E27FC236}">
                <a16:creationId xmlns:a16="http://schemas.microsoft.com/office/drawing/2014/main" id="{127236AC-385C-EBE5-7561-BE1CA3C701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12442" t="8882" r="24702" b="26576"/>
          <a:stretch/>
        </p:blipFill>
        <p:spPr>
          <a:xfrm>
            <a:off x="0" y="0"/>
            <a:ext cx="9144000" cy="5111750"/>
          </a:xfrm>
          <a:prstGeom prst="rect">
            <a:avLst/>
          </a:prstGeom>
        </p:spPr>
      </p:pic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5044874A-FADC-7682-CE1B-D61B44B0B0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pic>
        <p:nvPicPr>
          <p:cNvPr id="9" name="Grafikk 8">
            <a:extLst>
              <a:ext uri="{FF2B5EF4-FFF2-40B4-BE49-F238E27FC236}">
                <a16:creationId xmlns:a16="http://schemas.microsoft.com/office/drawing/2014/main" id="{15CFC04B-ED1B-B55D-9BD9-0AD91F8A247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t="27235" b="36013"/>
          <a:stretch/>
        </p:blipFill>
        <p:spPr>
          <a:xfrm>
            <a:off x="736688" y="1"/>
            <a:ext cx="8337600" cy="5111750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189EBC06-125D-02E3-7D7F-05ADCD9166E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57" y="2039874"/>
            <a:ext cx="6495086" cy="498598"/>
          </a:xfrm>
        </p:spPr>
        <p:txBody>
          <a:bodyPr wrap="square" lIns="0" tIns="0" rIns="0" bIns="0" anchor="t">
            <a:spAutoFit/>
          </a:bodyPr>
          <a:lstStyle>
            <a:lvl1pPr algn="l">
              <a:defRPr sz="36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Undertittel 2">
            <a:extLst>
              <a:ext uri="{FF2B5EF4-FFF2-40B4-BE49-F238E27FC236}">
                <a16:creationId xmlns:a16="http://schemas.microsoft.com/office/drawing/2014/main" id="{8A9128B6-D639-84D6-CE51-229DD113EC9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57" y="2713880"/>
            <a:ext cx="6495086" cy="193899"/>
          </a:xfrm>
        </p:spPr>
        <p:txBody>
          <a:bodyPr lIns="0" tIns="0" rIns="0" bIns="0">
            <a:spAutoFit/>
          </a:bodyPr>
          <a:lstStyle>
            <a:lvl1pPr marL="0" indent="0" algn="l">
              <a:buNone/>
              <a:defRPr sz="1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0681BD6-E2BE-C975-4AF7-B057CF7B906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7257" y="3126755"/>
            <a:ext cx="2057400" cy="153888"/>
          </a:xfrm>
        </p:spPr>
        <p:txBody>
          <a:bodyPr lIns="0" tIns="0" rIns="0" bIns="0"/>
          <a:lstStyle>
            <a:lvl1pPr>
              <a:defRPr sz="1000"/>
            </a:lvl1pPr>
          </a:lstStyle>
          <a:p>
            <a:r>
              <a:rPr lang="nb-NO"/>
              <a:t>Oslo, dd.mm.yyyy</a:t>
            </a:r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09C3D943-CF29-F519-F396-74A07D368C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D3645C4E-B90B-D676-13B7-A6F36B63621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57257" y="457257"/>
            <a:ext cx="1530000" cy="370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984502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tel og 3 bilder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15F083A-8242-0524-80C0-48DFC0E268C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897051"/>
            <a:ext cx="8229486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4E8C16F5-32E8-931A-216C-F29C6892F5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E92FD23E-9391-0B96-4714-790BDD2CA5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67637BAE-6B5B-AB02-038F-56A0927D3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7646EA35-F0E0-A802-CEFA-464D6250911C}"/>
              </a:ext>
            </a:extLst>
          </p:cNvPr>
          <p:cNvSpPr/>
          <p:nvPr userDrawn="1"/>
        </p:nvSpPr>
        <p:spPr>
          <a:xfrm>
            <a:off x="-1" y="2917276"/>
            <a:ext cx="3045600" cy="2194474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B3610D67-829F-7753-DAA3-D434EEA73AC5}"/>
              </a:ext>
            </a:extLst>
          </p:cNvPr>
          <p:cNvSpPr/>
          <p:nvPr userDrawn="1"/>
        </p:nvSpPr>
        <p:spPr>
          <a:xfrm>
            <a:off x="3061066" y="2917276"/>
            <a:ext cx="3045600" cy="2194474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9EE381F8-6F7C-2553-D5D3-B419E77AED5C}"/>
              </a:ext>
            </a:extLst>
          </p:cNvPr>
          <p:cNvSpPr/>
          <p:nvPr userDrawn="1"/>
        </p:nvSpPr>
        <p:spPr>
          <a:xfrm>
            <a:off x="6116022" y="2917276"/>
            <a:ext cx="3027978" cy="2194474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0" name="Plassholder for bilde 9">
            <a:extLst>
              <a:ext uri="{FF2B5EF4-FFF2-40B4-BE49-F238E27FC236}">
                <a16:creationId xmlns:a16="http://schemas.microsoft.com/office/drawing/2014/main" id="{74D47579-561A-1035-B1F4-2F2E2A2DC0BC}"/>
              </a:ext>
            </a:extLst>
          </p:cNvPr>
          <p:cNvSpPr>
            <a:spLocks noGrp="1"/>
          </p:cNvSpPr>
          <p:nvPr>
            <p:ph type="pic" idx="13"/>
          </p:nvPr>
        </p:nvSpPr>
        <p:spPr>
          <a:xfrm>
            <a:off x="457258" y="1631616"/>
            <a:ext cx="1968762" cy="1587798"/>
          </a:xfrm>
          <a:solidFill>
            <a:schemeClr val="bg1">
              <a:lumMod val="85000"/>
            </a:schemeClr>
          </a:solidFill>
        </p:spPr>
        <p:txBody>
          <a:bodyPr tIns="429611">
            <a:norm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2" name="Plassholder for tekst 11">
            <a:extLst>
              <a:ext uri="{FF2B5EF4-FFF2-40B4-BE49-F238E27FC236}">
                <a16:creationId xmlns:a16="http://schemas.microsoft.com/office/drawing/2014/main" id="{032AFE5F-B141-8A02-90F1-BA438010E43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57258" y="2914564"/>
            <a:ext cx="1968762" cy="584209"/>
          </a:xfrm>
          <a:prstGeom prst="rect">
            <a:avLst/>
          </a:prstGeom>
          <a:solidFill>
            <a:schemeClr val="dk2"/>
          </a:solidFill>
        </p:spPr>
        <p:txBody>
          <a:bodyPr lIns="0" tIns="0" rIns="0" bIns="0" anchor="ctr"/>
          <a:lstStyle>
            <a:lvl1pPr marL="0" indent="0" algn="ctr">
              <a:buNone/>
              <a:defRPr sz="1200" b="1">
                <a:solidFill>
                  <a:schemeClr val="lt1"/>
                </a:solidFill>
              </a:defRPr>
            </a:lvl1pPr>
            <a:lvl2pPr marL="279400" indent="0">
              <a:buNone/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3" name="Plassholder for tekst 12">
            <a:extLst>
              <a:ext uri="{FF2B5EF4-FFF2-40B4-BE49-F238E27FC236}">
                <a16:creationId xmlns:a16="http://schemas.microsoft.com/office/drawing/2014/main" id="{0AADA2E9-4EB7-A342-3AAD-92D5568B019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57259" y="3771311"/>
            <a:ext cx="1968762" cy="1010410"/>
          </a:xfrm>
          <a:prstGeom prst="rect">
            <a:avLst/>
          </a:prstGeom>
        </p:spPr>
        <p:txBody>
          <a:bodyPr lIns="0" tIns="0" rIns="0" bIns="0"/>
          <a:lstStyle>
            <a:lvl1pPr marL="90000" indent="-90000"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5" name="Plassholder for bilde 9">
            <a:extLst>
              <a:ext uri="{FF2B5EF4-FFF2-40B4-BE49-F238E27FC236}">
                <a16:creationId xmlns:a16="http://schemas.microsoft.com/office/drawing/2014/main" id="{4E42518D-FA05-425F-F143-37D2998FDFC1}"/>
              </a:ext>
            </a:extLst>
          </p:cNvPr>
          <p:cNvSpPr>
            <a:spLocks noGrp="1"/>
          </p:cNvSpPr>
          <p:nvPr>
            <p:ph type="pic" idx="16"/>
          </p:nvPr>
        </p:nvSpPr>
        <p:spPr>
          <a:xfrm>
            <a:off x="3587619" y="1631616"/>
            <a:ext cx="1968762" cy="1587798"/>
          </a:xfrm>
          <a:solidFill>
            <a:schemeClr val="bg1">
              <a:lumMod val="85000"/>
            </a:schemeClr>
          </a:solidFill>
        </p:spPr>
        <p:txBody>
          <a:bodyPr tIns="429611">
            <a:norm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6" name="Plassholder for tekst 11">
            <a:extLst>
              <a:ext uri="{FF2B5EF4-FFF2-40B4-BE49-F238E27FC236}">
                <a16:creationId xmlns:a16="http://schemas.microsoft.com/office/drawing/2014/main" id="{2E36F93E-5B24-78B5-D4D3-CFF61E4D95C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587619" y="2914564"/>
            <a:ext cx="1968762" cy="584209"/>
          </a:xfrm>
          <a:prstGeom prst="rect">
            <a:avLst/>
          </a:prstGeom>
          <a:solidFill>
            <a:schemeClr val="dk2"/>
          </a:solidFill>
        </p:spPr>
        <p:txBody>
          <a:bodyPr lIns="0" tIns="0" rIns="0" bIns="0" anchor="ctr"/>
          <a:lstStyle>
            <a:lvl1pPr marL="0" indent="0" algn="ctr">
              <a:buNone/>
              <a:defRPr sz="1200" b="1">
                <a:solidFill>
                  <a:schemeClr val="lt1"/>
                </a:solidFill>
              </a:defRPr>
            </a:lvl1pPr>
            <a:lvl2pPr marL="279400" indent="0">
              <a:buNone/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Plassholder for tekst 12">
            <a:extLst>
              <a:ext uri="{FF2B5EF4-FFF2-40B4-BE49-F238E27FC236}">
                <a16:creationId xmlns:a16="http://schemas.microsoft.com/office/drawing/2014/main" id="{B363DA32-0871-CC31-0331-700AE140CE7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587620" y="3771311"/>
            <a:ext cx="1968762" cy="1010410"/>
          </a:xfrm>
          <a:prstGeom prst="rect">
            <a:avLst/>
          </a:prstGeom>
        </p:spPr>
        <p:txBody>
          <a:bodyPr lIns="0" tIns="0" rIns="0" bIns="0"/>
          <a:lstStyle>
            <a:lvl1pPr marL="90000" indent="-90000"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8" name="Plassholder for bilde 9">
            <a:extLst>
              <a:ext uri="{FF2B5EF4-FFF2-40B4-BE49-F238E27FC236}">
                <a16:creationId xmlns:a16="http://schemas.microsoft.com/office/drawing/2014/main" id="{EBC16840-01B4-C460-A692-F8CFB036901A}"/>
              </a:ext>
            </a:extLst>
          </p:cNvPr>
          <p:cNvSpPr>
            <a:spLocks noGrp="1"/>
          </p:cNvSpPr>
          <p:nvPr>
            <p:ph type="pic" idx="19"/>
          </p:nvPr>
        </p:nvSpPr>
        <p:spPr>
          <a:xfrm>
            <a:off x="6717980" y="1631616"/>
            <a:ext cx="1968762" cy="1587798"/>
          </a:xfrm>
          <a:solidFill>
            <a:schemeClr val="bg1">
              <a:lumMod val="85000"/>
            </a:schemeClr>
          </a:solidFill>
        </p:spPr>
        <p:txBody>
          <a:bodyPr tIns="429611">
            <a:norm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  <p:sp>
        <p:nvSpPr>
          <p:cNvPr id="19" name="Plassholder for tekst 11">
            <a:extLst>
              <a:ext uri="{FF2B5EF4-FFF2-40B4-BE49-F238E27FC236}">
                <a16:creationId xmlns:a16="http://schemas.microsoft.com/office/drawing/2014/main" id="{AA6A037C-7F5E-F887-58CA-FDCA9C1575FB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717980" y="2914564"/>
            <a:ext cx="1968762" cy="584209"/>
          </a:xfrm>
          <a:prstGeom prst="rect">
            <a:avLst/>
          </a:prstGeom>
          <a:solidFill>
            <a:schemeClr val="dk2"/>
          </a:solidFill>
        </p:spPr>
        <p:txBody>
          <a:bodyPr lIns="0" tIns="0" rIns="0" bIns="0" anchor="ctr"/>
          <a:lstStyle>
            <a:lvl1pPr marL="0" indent="0" algn="ctr">
              <a:buNone/>
              <a:defRPr sz="1200" b="1">
                <a:solidFill>
                  <a:schemeClr val="lt1"/>
                </a:solidFill>
              </a:defRPr>
            </a:lvl1pPr>
            <a:lvl2pPr marL="279400" indent="0">
              <a:buNone/>
              <a:defRPr sz="1200" b="1"/>
            </a:lvl2pPr>
            <a:lvl3pPr>
              <a:defRPr sz="1200" b="1"/>
            </a:lvl3pPr>
            <a:lvl4pPr>
              <a:defRPr sz="1200" b="1"/>
            </a:lvl4pPr>
            <a:lvl5pPr>
              <a:defRPr sz="1200" b="1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0" name="Plassholder for tekst 12">
            <a:extLst>
              <a:ext uri="{FF2B5EF4-FFF2-40B4-BE49-F238E27FC236}">
                <a16:creationId xmlns:a16="http://schemas.microsoft.com/office/drawing/2014/main" id="{6CFECE86-FC91-2A0C-8308-B54DDD05C39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6717981" y="3771311"/>
            <a:ext cx="1968762" cy="1010410"/>
          </a:xfrm>
          <a:prstGeom prst="rect">
            <a:avLst/>
          </a:prstGeom>
        </p:spPr>
        <p:txBody>
          <a:bodyPr lIns="0" tIns="0" rIns="0" bIns="0"/>
          <a:lstStyle>
            <a:lvl1pPr marL="90000" indent="-90000">
              <a:defRPr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18676732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15F083A-8242-0524-80C0-48DFC0E268C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dato 2">
            <a:extLst>
              <a:ext uri="{FF2B5EF4-FFF2-40B4-BE49-F238E27FC236}">
                <a16:creationId xmlns:a16="http://schemas.microsoft.com/office/drawing/2014/main" id="{4E8C16F5-32E8-931A-216C-F29C6892F5B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4" name="Plassholder for bunntekst 3">
            <a:extLst>
              <a:ext uri="{FF2B5EF4-FFF2-40B4-BE49-F238E27FC236}">
                <a16:creationId xmlns:a16="http://schemas.microsoft.com/office/drawing/2014/main" id="{E92FD23E-9391-0B96-4714-790BDD2CA5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67637BAE-6B5B-AB02-038F-56A0927D39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1177497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Hvileside">
    <p:bg>
      <p:bgPr>
        <a:solidFill>
          <a:srgbClr val="8C00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k 5">
            <a:extLst>
              <a:ext uri="{FF2B5EF4-FFF2-40B4-BE49-F238E27FC236}">
                <a16:creationId xmlns:a16="http://schemas.microsoft.com/office/drawing/2014/main" id="{C6507BDE-C397-F11A-6079-DAFE03A2895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 l="26493" t="29293"/>
          <a:stretch/>
        </p:blipFill>
        <p:spPr>
          <a:xfrm>
            <a:off x="0" y="0"/>
            <a:ext cx="9144000" cy="5111750"/>
          </a:xfrm>
          <a:prstGeom prst="rect">
            <a:avLst/>
          </a:prstGeom>
        </p:spPr>
      </p:pic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69B9F52B-5A3F-77E9-E1AC-EAF6B211500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0156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64826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 lilla">
    <p:bg>
      <p:bgPr>
        <a:solidFill>
          <a:srgbClr val="8C00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3480671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 indigo">
    <p:bg>
      <p:bgPr>
        <a:solidFill>
          <a:srgbClr val="5F00C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8989737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 lime">
    <p:bg>
      <p:bgPr>
        <a:solidFill>
          <a:srgbClr val="4BF0C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/>
          <a:p>
            <a:fld id="{20EE8A8A-9F66-4500-8547-91D11C77B4B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9302428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Tomt grønn">
    <p:bg>
      <p:bgPr>
        <a:solidFill>
          <a:srgbClr val="00583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6928630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akside #1">
    <p:bg>
      <p:bgPr>
        <a:solidFill>
          <a:srgbClr val="8C00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Grafikk 5">
            <a:extLst>
              <a:ext uri="{FF2B5EF4-FFF2-40B4-BE49-F238E27FC236}">
                <a16:creationId xmlns:a16="http://schemas.microsoft.com/office/drawing/2014/main" id="{A11C50B3-6FB3-7FC0-04CC-9F1AA64FA5F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3175"/>
            <a:ext cx="9144000" cy="5105400"/>
          </a:xfrm>
          <a:prstGeom prst="rect">
            <a:avLst/>
          </a:prstGeom>
        </p:spPr>
      </p:pic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-71415"/>
            <a:ext cx="2057400" cy="15389"/>
          </a:xfrm>
          <a:noFill/>
        </p:spPr>
        <p:txBody>
          <a:bodyPr lIns="0" tIns="0" rIns="0" bIns="0"/>
          <a:lstStyle>
            <a:lvl1pPr>
              <a:defRPr sz="100"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F093906E-1006-489A-0CC9-0A0171C76CCE}"/>
              </a:ext>
            </a:extLst>
          </p:cNvPr>
          <p:cNvSpPr/>
          <p:nvPr userDrawn="1"/>
        </p:nvSpPr>
        <p:spPr>
          <a:xfrm>
            <a:off x="3838575" y="2133600"/>
            <a:ext cx="1457325" cy="819150"/>
          </a:xfrm>
          <a:prstGeom prst="rect">
            <a:avLst/>
          </a:prstGeom>
          <a:solidFill>
            <a:srgbClr val="8A00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5" name="Grafikk 4">
            <a:extLst>
              <a:ext uri="{FF2B5EF4-FFF2-40B4-BE49-F238E27FC236}">
                <a16:creationId xmlns:a16="http://schemas.microsoft.com/office/drawing/2014/main" id="{22ED8C9F-DD38-6BC0-4A88-9916AB4EF59D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62210" y="2311399"/>
            <a:ext cx="2019580" cy="488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0417578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akside #2">
    <p:bg>
      <p:bgPr>
        <a:solidFill>
          <a:srgbClr val="8C00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fikk 6">
            <a:extLst>
              <a:ext uri="{FF2B5EF4-FFF2-40B4-BE49-F238E27FC236}">
                <a16:creationId xmlns:a16="http://schemas.microsoft.com/office/drawing/2014/main" id="{5CA674F5-1A45-F790-44D0-B65417F6594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0" y="3175"/>
            <a:ext cx="9144000" cy="5105400"/>
          </a:xfrm>
          <a:prstGeom prst="rect">
            <a:avLst/>
          </a:prstGeom>
        </p:spPr>
      </p:pic>
      <p:sp>
        <p:nvSpPr>
          <p:cNvPr id="6" name="Rektangel 5">
            <a:extLst>
              <a:ext uri="{FF2B5EF4-FFF2-40B4-BE49-F238E27FC236}">
                <a16:creationId xmlns:a16="http://schemas.microsoft.com/office/drawing/2014/main" id="{0EB01969-A9C0-E6E7-5329-2338815D26AB}"/>
              </a:ext>
            </a:extLst>
          </p:cNvPr>
          <p:cNvSpPr/>
          <p:nvPr userDrawn="1"/>
        </p:nvSpPr>
        <p:spPr>
          <a:xfrm>
            <a:off x="3843337" y="2146300"/>
            <a:ext cx="1457325" cy="819150"/>
          </a:xfrm>
          <a:prstGeom prst="rect">
            <a:avLst/>
          </a:prstGeom>
          <a:solidFill>
            <a:srgbClr val="1754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E8AB0347-A3F8-7CE1-87E7-6AD210A34D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9525933F-E570-2329-C1C4-A57E11161D3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7AC64D9B-6C40-6E06-6B76-4EDD7AA822A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0" y="-71415"/>
            <a:ext cx="2057400" cy="15389"/>
          </a:xfrm>
          <a:noFill/>
        </p:spPr>
        <p:txBody>
          <a:bodyPr lIns="0" tIns="0" rIns="0" bIns="0"/>
          <a:lstStyle>
            <a:lvl1pPr>
              <a:defRPr sz="100"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5" name="Grafikk 4">
            <a:extLst>
              <a:ext uri="{FF2B5EF4-FFF2-40B4-BE49-F238E27FC236}">
                <a16:creationId xmlns:a16="http://schemas.microsoft.com/office/drawing/2014/main" id="{1669C3E9-F960-FFB5-6262-5B805F4996C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62210" y="2311399"/>
            <a:ext cx="2019580" cy="4889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839370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tel og innhold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ECCE8073-0C93-7D9A-9607-EC2F1069AE5A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E6D1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3334375-863F-4E79-49BE-58EBF26F28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3702960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60125C0-A856-B565-F422-9E99F8E2F2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9518BA95-97CA-594F-CEC4-9016AB21F7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06BDD799-A64A-28BE-E5BC-314CC349B2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804CDD7-D731-CE72-6B7E-FA1540CD3D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B33E58D6-BCBC-1ACA-DEC4-18E819EBE9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EEC7CB79-1863-78D2-3C2F-0FDC187818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1" name="Plassholder for bilde 10">
            <a:extLst>
              <a:ext uri="{FF2B5EF4-FFF2-40B4-BE49-F238E27FC236}">
                <a16:creationId xmlns:a16="http://schemas.microsoft.com/office/drawing/2014/main" id="{8CF249F0-D73C-ABA7-AFAC-095D211666E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71428" y="0"/>
            <a:ext cx="4572572" cy="4654493"/>
          </a:xfrm>
          <a:prstGeom prst="rect">
            <a:avLst/>
          </a:prstGeom>
          <a:solidFill>
            <a:schemeClr val="tx1">
              <a:lumMod val="85000"/>
            </a:schemeClr>
          </a:solidFill>
        </p:spPr>
        <p:txBody>
          <a:bodyPr tIns="429611"/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8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825297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eloverskrift">
    <p:bg>
      <p:bgPr>
        <a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8B5510B-66A1-DDB8-613C-36D8B31EAA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51069F0-B04A-27E6-EA1C-3F12B86D6D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AF6CDFB-CD38-64C8-1056-34AF412FA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BD93A480-2291-EAEB-C969-EA9A96926A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57" y="1995424"/>
            <a:ext cx="4178243" cy="332399"/>
          </a:xfrm>
        </p:spPr>
        <p:txBody>
          <a:bodyPr wrap="square" lIns="0" tIns="0" rIns="0" bIns="0" anchor="t">
            <a:spAutoFit/>
          </a:bodyPr>
          <a:lstStyle>
            <a:lvl1pPr algn="l">
              <a:defRPr sz="24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Undertittel 2">
            <a:extLst>
              <a:ext uri="{FF2B5EF4-FFF2-40B4-BE49-F238E27FC236}">
                <a16:creationId xmlns:a16="http://schemas.microsoft.com/office/drawing/2014/main" id="{2B84FDC0-0E1E-7403-2EFC-69279449BE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57" y="2606182"/>
            <a:ext cx="4178243" cy="1661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16" name="Grafikk 15">
            <a:extLst>
              <a:ext uri="{FF2B5EF4-FFF2-40B4-BE49-F238E27FC236}">
                <a16:creationId xmlns:a16="http://schemas.microsoft.com/office/drawing/2014/main" id="{AE18C5D0-3022-4BAF-025C-D9004D43507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419824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, innhold og graf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ktangel 8">
            <a:extLst>
              <a:ext uri="{FF2B5EF4-FFF2-40B4-BE49-F238E27FC236}">
                <a16:creationId xmlns:a16="http://schemas.microsoft.com/office/drawing/2014/main" id="{B45C3145-1A1F-8DC3-D043-642D4A957A22}"/>
              </a:ext>
            </a:extLst>
          </p:cNvPr>
          <p:cNvSpPr/>
          <p:nvPr userDrawn="1"/>
        </p:nvSpPr>
        <p:spPr>
          <a:xfrm>
            <a:off x="0" y="0"/>
            <a:ext cx="4572572" cy="5111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83334375-863F-4E79-49BE-58EBF26F28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3702960" cy="664797"/>
          </a:xfrm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160125C0-A856-B565-F422-9E99F8E2F2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  <a:lvl2pPr>
              <a:defRPr>
                <a:solidFill>
                  <a:schemeClr val="lt1"/>
                </a:solidFill>
              </a:defRPr>
            </a:lvl2pPr>
            <a:lvl3pPr>
              <a:defRPr>
                <a:solidFill>
                  <a:schemeClr val="lt1"/>
                </a:solidFill>
              </a:defRPr>
            </a:lvl3pPr>
            <a:lvl4pPr>
              <a:defRPr>
                <a:solidFill>
                  <a:schemeClr val="lt1"/>
                </a:solidFill>
              </a:defRPr>
            </a:lvl4pPr>
            <a:lvl5pPr>
              <a:defRPr>
                <a:solidFill>
                  <a:schemeClr val="lt1"/>
                </a:solidFill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9518BA95-97CA-594F-CEC4-9016AB21F79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06BDD799-A64A-28BE-E5BC-314CC349B25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6804CDD7-D731-CE72-6B7E-FA1540CD3D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7" name="Grafikk 6">
            <a:extLst>
              <a:ext uri="{FF2B5EF4-FFF2-40B4-BE49-F238E27FC236}">
                <a16:creationId xmlns:a16="http://schemas.microsoft.com/office/drawing/2014/main" id="{B33E58D6-BCBC-1ACA-DEC4-18E819EBE9D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EEC7CB79-1863-78D2-3C2F-0FDC187818B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>
                <a:solidFill>
                  <a:schemeClr val="lt1"/>
                </a:solidFill>
              </a:defRPr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3" name="Plassholder for diagram 12">
            <a:extLst>
              <a:ext uri="{FF2B5EF4-FFF2-40B4-BE49-F238E27FC236}">
                <a16:creationId xmlns:a16="http://schemas.microsoft.com/office/drawing/2014/main" id="{5411E35D-D571-C517-28AB-D29667B5E49F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4958814" y="212725"/>
            <a:ext cx="3836987" cy="4516721"/>
          </a:xfrm>
        </p:spPr>
        <p:txBody>
          <a:bodyPr/>
          <a:lstStyle/>
          <a:p>
            <a:r>
              <a:rPr lang="nb-NO"/>
              <a:t>Klikk ikonet for å legge til et diagram</a:t>
            </a:r>
          </a:p>
        </p:txBody>
      </p:sp>
    </p:spTree>
    <p:extLst>
      <p:ext uri="{BB962C8B-B14F-4D97-AF65-F5344CB8AC3E}">
        <p14:creationId xmlns:p14="http://schemas.microsoft.com/office/powerpoint/2010/main" val="877332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 Deloverskrift #2">
    <p:bg>
      <p:bgPr>
        <a:solidFill>
          <a:srgbClr val="8C00F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8B5510B-66A1-DDB8-613C-36D8B31EAA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51069F0-B04A-27E6-EA1C-3F12B86D6D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AF6CDFB-CD38-64C8-1056-34AF412FA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BD93A480-2291-EAEB-C969-EA9A96926A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57" y="1995424"/>
            <a:ext cx="4178243" cy="332399"/>
          </a:xfrm>
        </p:spPr>
        <p:txBody>
          <a:bodyPr wrap="square" lIns="0" tIns="0" rIns="0" bIns="0" anchor="t">
            <a:spAutoFit/>
          </a:bodyPr>
          <a:lstStyle>
            <a:lvl1pPr algn="l">
              <a:defRPr sz="24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Undertittel 2">
            <a:extLst>
              <a:ext uri="{FF2B5EF4-FFF2-40B4-BE49-F238E27FC236}">
                <a16:creationId xmlns:a16="http://schemas.microsoft.com/office/drawing/2014/main" id="{2B84FDC0-0E1E-7403-2EFC-69279449BE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57" y="2606182"/>
            <a:ext cx="4178243" cy="1661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pic>
        <p:nvPicPr>
          <p:cNvPr id="16" name="Grafikk 15">
            <a:extLst>
              <a:ext uri="{FF2B5EF4-FFF2-40B4-BE49-F238E27FC236}">
                <a16:creationId xmlns:a16="http://schemas.microsoft.com/office/drawing/2014/main" id="{AE18C5D0-3022-4BAF-025C-D9004D435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  <p:sp>
        <p:nvSpPr>
          <p:cNvPr id="15" name="Plassholder for bilde 14">
            <a:extLst>
              <a:ext uri="{FF2B5EF4-FFF2-40B4-BE49-F238E27FC236}">
                <a16:creationId xmlns:a16="http://schemas.microsoft.com/office/drawing/2014/main" id="{FB267606-548B-9316-FDEF-4531CE3CCDD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193130" y="0"/>
            <a:ext cx="5950870" cy="5111751"/>
          </a:xfrm>
          <a:custGeom>
            <a:avLst/>
            <a:gdLst>
              <a:gd name="connsiteX0" fmla="*/ 1456441 w 5950870"/>
              <a:gd name="connsiteY0" fmla="*/ 0 h 5111751"/>
              <a:gd name="connsiteX1" fmla="*/ 5950870 w 5950870"/>
              <a:gd name="connsiteY1" fmla="*/ 0 h 5111751"/>
              <a:gd name="connsiteX2" fmla="*/ 5950870 w 5950870"/>
              <a:gd name="connsiteY2" fmla="*/ 5111751 h 5111751"/>
              <a:gd name="connsiteX3" fmla="*/ 0 w 5950870"/>
              <a:gd name="connsiteY3" fmla="*/ 5111751 h 5111751"/>
              <a:gd name="connsiteX4" fmla="*/ 1402641 w 5950870"/>
              <a:gd name="connsiteY4" fmla="*/ 2939237 h 5111751"/>
              <a:gd name="connsiteX5" fmla="*/ 1820942 w 5950870"/>
              <a:gd name="connsiteY5" fmla="*/ 1885952 h 5111751"/>
              <a:gd name="connsiteX6" fmla="*/ 1498558 w 5950870"/>
              <a:gd name="connsiteY6" fmla="*/ 65865 h 5111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50870" h="5111751">
                <a:moveTo>
                  <a:pt x="1456441" y="0"/>
                </a:moveTo>
                <a:lnTo>
                  <a:pt x="5950870" y="0"/>
                </a:lnTo>
                <a:lnTo>
                  <a:pt x="5950870" y="5111751"/>
                </a:lnTo>
                <a:lnTo>
                  <a:pt x="0" y="5111751"/>
                </a:lnTo>
                <a:lnTo>
                  <a:pt x="1402641" y="2939237"/>
                </a:lnTo>
                <a:cubicBezTo>
                  <a:pt x="1608318" y="2630570"/>
                  <a:pt x="1754216" y="2274883"/>
                  <a:pt x="1820942" y="1885952"/>
                </a:cubicBezTo>
                <a:cubicBezTo>
                  <a:pt x="1932678" y="1234479"/>
                  <a:pt x="1803786" y="597553"/>
                  <a:pt x="1498558" y="65865"/>
                </a:cubicBezTo>
                <a:close/>
              </a:path>
            </a:pathLst>
          </a:custGeom>
          <a:solidFill>
            <a:schemeClr val="tx1">
              <a:lumMod val="85000"/>
            </a:schemeClr>
          </a:solidFill>
        </p:spPr>
        <p:txBody>
          <a:bodyPr wrap="square" tIns="504615">
            <a:no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296834403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 Deloverskrift #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18B5510B-66A1-DDB8-613C-36D8B31EAAC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51069F0-B04A-27E6-EA1C-3F12B86D6D0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EAF6CDFB-CD38-64C8-1056-34AF412FAB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dk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7" name="Tittel 1">
            <a:extLst>
              <a:ext uri="{FF2B5EF4-FFF2-40B4-BE49-F238E27FC236}">
                <a16:creationId xmlns:a16="http://schemas.microsoft.com/office/drawing/2014/main" id="{BD93A480-2291-EAEB-C969-EA9A96926A5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57257" y="1995424"/>
            <a:ext cx="4178243" cy="332399"/>
          </a:xfrm>
        </p:spPr>
        <p:txBody>
          <a:bodyPr wrap="square" lIns="0" tIns="0" rIns="0" bIns="0" anchor="t">
            <a:spAutoFit/>
          </a:bodyPr>
          <a:lstStyle>
            <a:lvl1pPr algn="l">
              <a:defRPr sz="2400"/>
            </a:lvl1pPr>
          </a:lstStyle>
          <a:p>
            <a:r>
              <a:rPr lang="nb-NO"/>
              <a:t>Klikk for å redigere tittelstil</a:t>
            </a:r>
          </a:p>
        </p:txBody>
      </p:sp>
      <p:sp>
        <p:nvSpPr>
          <p:cNvPr id="8" name="Undertittel 2">
            <a:extLst>
              <a:ext uri="{FF2B5EF4-FFF2-40B4-BE49-F238E27FC236}">
                <a16:creationId xmlns:a16="http://schemas.microsoft.com/office/drawing/2014/main" id="{2B84FDC0-0E1E-7403-2EFC-69279449BEA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257" y="2606182"/>
            <a:ext cx="4178243" cy="166199"/>
          </a:xfr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1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</a:p>
        </p:txBody>
      </p:sp>
      <p:sp>
        <p:nvSpPr>
          <p:cNvPr id="15" name="Plassholder for bilde 14">
            <a:extLst>
              <a:ext uri="{FF2B5EF4-FFF2-40B4-BE49-F238E27FC236}">
                <a16:creationId xmlns:a16="http://schemas.microsoft.com/office/drawing/2014/main" id="{FB267606-548B-9316-FDEF-4531CE3CCDD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193130" y="0"/>
            <a:ext cx="5950870" cy="5111751"/>
          </a:xfrm>
          <a:custGeom>
            <a:avLst/>
            <a:gdLst>
              <a:gd name="connsiteX0" fmla="*/ 1456441 w 5950870"/>
              <a:gd name="connsiteY0" fmla="*/ 0 h 5111751"/>
              <a:gd name="connsiteX1" fmla="*/ 5950870 w 5950870"/>
              <a:gd name="connsiteY1" fmla="*/ 0 h 5111751"/>
              <a:gd name="connsiteX2" fmla="*/ 5950870 w 5950870"/>
              <a:gd name="connsiteY2" fmla="*/ 5111751 h 5111751"/>
              <a:gd name="connsiteX3" fmla="*/ 0 w 5950870"/>
              <a:gd name="connsiteY3" fmla="*/ 5111751 h 5111751"/>
              <a:gd name="connsiteX4" fmla="*/ 1402641 w 5950870"/>
              <a:gd name="connsiteY4" fmla="*/ 2939237 h 5111751"/>
              <a:gd name="connsiteX5" fmla="*/ 1820942 w 5950870"/>
              <a:gd name="connsiteY5" fmla="*/ 1885952 h 5111751"/>
              <a:gd name="connsiteX6" fmla="*/ 1498558 w 5950870"/>
              <a:gd name="connsiteY6" fmla="*/ 65865 h 51117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950870" h="5111751">
                <a:moveTo>
                  <a:pt x="1456441" y="0"/>
                </a:moveTo>
                <a:lnTo>
                  <a:pt x="5950870" y="0"/>
                </a:lnTo>
                <a:lnTo>
                  <a:pt x="5950870" y="5111751"/>
                </a:lnTo>
                <a:lnTo>
                  <a:pt x="0" y="5111751"/>
                </a:lnTo>
                <a:lnTo>
                  <a:pt x="1402641" y="2939237"/>
                </a:lnTo>
                <a:cubicBezTo>
                  <a:pt x="1608318" y="2630570"/>
                  <a:pt x="1754216" y="2274883"/>
                  <a:pt x="1820942" y="1885952"/>
                </a:cubicBezTo>
                <a:cubicBezTo>
                  <a:pt x="1932678" y="1234479"/>
                  <a:pt x="1803786" y="597553"/>
                  <a:pt x="1498558" y="65865"/>
                </a:cubicBez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tIns="504615">
            <a:noAutofit/>
          </a:bodyPr>
          <a:lstStyle>
            <a:lvl1pPr marL="120650" indent="-12065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900"/>
            </a:lvl1pPr>
          </a:lstStyle>
          <a:p>
            <a:r>
              <a:rPr lang="nb-NO"/>
              <a:t>Klikk på ikonet for å legge til et bilde</a:t>
            </a:r>
          </a:p>
        </p:txBody>
      </p:sp>
    </p:spTree>
    <p:extLst>
      <p:ext uri="{BB962C8B-B14F-4D97-AF65-F5344CB8AC3E}">
        <p14:creationId xmlns:p14="http://schemas.microsoft.com/office/powerpoint/2010/main" val="88754128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o innholdsdel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Grafikk 19">
            <a:extLst>
              <a:ext uri="{FF2B5EF4-FFF2-40B4-BE49-F238E27FC236}">
                <a16:creationId xmlns:a16="http://schemas.microsoft.com/office/drawing/2014/main" id="{DF7D169B-633E-2A31-AF34-59AB49BEA4B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5740" b="40296"/>
          <a:stretch/>
        </p:blipFill>
        <p:spPr>
          <a:xfrm>
            <a:off x="4858339" y="1744958"/>
            <a:ext cx="4285661" cy="2909535"/>
          </a:xfrm>
          <a:prstGeom prst="rect">
            <a:avLst/>
          </a:prstGeom>
        </p:spPr>
      </p:pic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5F00C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7824682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pic>
        <p:nvPicPr>
          <p:cNvPr id="10" name="Grafikk 9">
            <a:extLst>
              <a:ext uri="{FF2B5EF4-FFF2-40B4-BE49-F238E27FC236}">
                <a16:creationId xmlns:a16="http://schemas.microsoft.com/office/drawing/2014/main" id="{6E6E083F-35A9-65FC-A0A3-4CFDEB97F8B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7256" y="457257"/>
            <a:ext cx="1202400" cy="291107"/>
          </a:xfrm>
          <a:prstGeom prst="rect">
            <a:avLst/>
          </a:prstGeom>
        </p:spPr>
      </p:pic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BE070B99-CC43-42C1-97F9-A8177AA17C4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578981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7" name="Plassholder for tekst 9">
            <a:extLst>
              <a:ext uri="{FF2B5EF4-FFF2-40B4-BE49-F238E27FC236}">
                <a16:creationId xmlns:a16="http://schemas.microsoft.com/office/drawing/2014/main" id="{FF592D73-2BB9-D0DD-9066-E29A731483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8979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289292306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innholdsdeler #2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ktangel 17">
            <a:extLst>
              <a:ext uri="{FF2B5EF4-FFF2-40B4-BE49-F238E27FC236}">
                <a16:creationId xmlns:a16="http://schemas.microsoft.com/office/drawing/2014/main" id="{38A971D9-83F6-5174-DA5A-0C26C71BD1F3}"/>
              </a:ext>
            </a:extLst>
          </p:cNvPr>
          <p:cNvSpPr/>
          <p:nvPr userDrawn="1"/>
        </p:nvSpPr>
        <p:spPr>
          <a:xfrm>
            <a:off x="0" y="4654493"/>
            <a:ext cx="9145143" cy="457257"/>
          </a:xfrm>
          <a:prstGeom prst="rect">
            <a:avLst/>
          </a:prstGeom>
          <a:solidFill>
            <a:srgbClr val="00583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A8EDB6CE-F11E-E5A1-AAD3-7B817E0071E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 lIns="0" tIns="0" rIns="0" bIns="0"/>
          <a:lstStyle/>
          <a:p>
            <a:r>
              <a:rPr lang="nb-NO"/>
              <a:t>Oslo, dd.mm.yyyy</a:t>
            </a:r>
          </a:p>
        </p:txBody>
      </p:sp>
      <p:sp>
        <p:nvSpPr>
          <p:cNvPr id="6" name="Plassholder for bunntekst 5">
            <a:extLst>
              <a:ext uri="{FF2B5EF4-FFF2-40B4-BE49-F238E27FC236}">
                <a16:creationId xmlns:a16="http://schemas.microsoft.com/office/drawing/2014/main" id="{473E752B-9E50-43A6-47F8-6FA410DEC14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 lIns="0" tIns="0" rIns="0" bIns="0"/>
          <a:lstStyle/>
          <a:p>
            <a:endParaRPr lang="nb-NO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F2ED9FA-47A2-F4BF-4D06-FE7A2B16F3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lIns="0" tIns="0" rIns="0" bIns="0"/>
          <a:lstStyle>
            <a:lvl1pPr>
              <a:defRPr>
                <a:solidFill>
                  <a:schemeClr val="lt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8" name="Tittel 1">
            <a:extLst>
              <a:ext uri="{FF2B5EF4-FFF2-40B4-BE49-F238E27FC236}">
                <a16:creationId xmlns:a16="http://schemas.microsoft.com/office/drawing/2014/main" id="{F9312261-C08F-8639-EECE-0A72841AE04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7824682" cy="664797"/>
          </a:xfrm>
        </p:spPr>
        <p:txBody>
          <a:bodyPr lIns="0" tIns="0" rIns="0" bIns="0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DE949518-3A77-8798-927F-45B51F4893F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7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1" name="Plassholder for tekst 9">
            <a:extLst>
              <a:ext uri="{FF2B5EF4-FFF2-40B4-BE49-F238E27FC236}">
                <a16:creationId xmlns:a16="http://schemas.microsoft.com/office/drawing/2014/main" id="{EFFE1A1F-E2E7-C4C2-4AB2-B46562B3422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55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  <p:sp>
        <p:nvSpPr>
          <p:cNvPr id="16" name="Plassholder for innhold 2">
            <a:extLst>
              <a:ext uri="{FF2B5EF4-FFF2-40B4-BE49-F238E27FC236}">
                <a16:creationId xmlns:a16="http://schemas.microsoft.com/office/drawing/2014/main" id="{BE070B99-CC43-42C1-97F9-A8177AA17C49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4578981" y="2081047"/>
            <a:ext cx="3702960" cy="2148053"/>
          </a:xfrm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7" name="Plassholder for tekst 9">
            <a:extLst>
              <a:ext uri="{FF2B5EF4-FFF2-40B4-BE49-F238E27FC236}">
                <a16:creationId xmlns:a16="http://schemas.microsoft.com/office/drawing/2014/main" id="{FF592D73-2BB9-D0DD-9066-E29A7314833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578979" y="1809436"/>
            <a:ext cx="3702960" cy="12465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b="1"/>
            </a:lvl1pPr>
          </a:lstStyle>
          <a:p>
            <a:pPr lvl="0"/>
            <a:r>
              <a:rPr lang="nb-NO"/>
              <a:t>Undertittel</a:t>
            </a:r>
          </a:p>
        </p:txBody>
      </p:sp>
    </p:spTree>
    <p:extLst>
      <p:ext uri="{BB962C8B-B14F-4D97-AF65-F5344CB8AC3E}">
        <p14:creationId xmlns:p14="http://schemas.microsoft.com/office/powerpoint/2010/main" val="32734936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35" Type="http://schemas.openxmlformats.org/officeDocument/2006/relationships/image" Target="../media/image3.svg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C3A0CE2F-587C-2A35-D66A-1FC176F13F5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8250794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411" imgH="411" progId="TCLayout.ActiveDocument.1">
                  <p:embed/>
                </p:oleObj>
              </mc:Choice>
              <mc:Fallback>
                <p:oleObj name="think-cell Slide" r:id="rId32" imgW="411" imgH="411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3A0CE2F-587C-2A35-D66A-1FC176F13F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>
            <a:extLst>
              <a:ext uri="{FF2B5EF4-FFF2-40B4-BE49-F238E27FC236}">
                <a16:creationId xmlns:a16="http://schemas.microsoft.com/office/drawing/2014/main" id="{671BD923-3E36-84C6-4D50-0D5300920C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8229486" cy="66479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DA15E85F-A1B2-39DA-282C-5327D4C868F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57257" y="2081047"/>
            <a:ext cx="8229486" cy="2148053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A44EF01-02A4-7E88-4DD7-62AF12BDE94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0" y="-63720"/>
            <a:ext cx="2057400" cy="1538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">
                <a:solidFill>
                  <a:schemeClr val="dk1"/>
                </a:solidFill>
              </a:defRPr>
            </a:lvl1pPr>
          </a:lstStyle>
          <a:p>
            <a:r>
              <a:rPr lang="nb-NO"/>
              <a:t>Oslo, dd.mm.yyyy</a:t>
            </a:r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46E953B6-6F68-E621-F184-467E25816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0" y="-63720"/>
            <a:ext cx="2057400" cy="15389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ctr">
              <a:defRPr sz="100">
                <a:solidFill>
                  <a:schemeClr val="dk1"/>
                </a:solidFill>
              </a:defRPr>
            </a:lvl1pPr>
          </a:lstStyle>
          <a:p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B32316A8-2520-2CFD-627A-62D77CB02A5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57257" y="4796968"/>
            <a:ext cx="2057400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1000">
                <a:solidFill>
                  <a:schemeClr val="dk1"/>
                </a:solidFill>
              </a:defRPr>
            </a:lvl1pPr>
          </a:lstStyle>
          <a:p>
            <a:fld id="{20EE8A8A-9F66-4500-8547-91D11C77B4B7}" type="slidenum">
              <a:rPr lang="nb-NO" smtClean="0"/>
              <a:pPr/>
              <a:t>‹#›</a:t>
            </a:fld>
            <a:endParaRPr lang="nb-NO"/>
          </a:p>
        </p:txBody>
      </p:sp>
      <p:pic>
        <p:nvPicPr>
          <p:cNvPr id="13" name="Grafikk 12">
            <a:extLst>
              <a:ext uri="{FF2B5EF4-FFF2-40B4-BE49-F238E27FC236}">
                <a16:creationId xmlns:a16="http://schemas.microsoft.com/office/drawing/2014/main" id="{3990BA13-52AF-0D85-828E-7A521DE0A57E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457257" y="457257"/>
            <a:ext cx="1202400" cy="291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43613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1" r:id="rId4"/>
    <p:sldLayoutId id="2147483670" r:id="rId5"/>
    <p:sldLayoutId id="2147483661" r:id="rId6"/>
    <p:sldLayoutId id="2147483662" r:id="rId7"/>
    <p:sldLayoutId id="2147483652" r:id="rId8"/>
    <p:sldLayoutId id="2147483671" r:id="rId9"/>
    <p:sldLayoutId id="2147483672" r:id="rId10"/>
    <p:sldLayoutId id="2147483673" r:id="rId11"/>
    <p:sldLayoutId id="2147483682" r:id="rId12"/>
    <p:sldLayoutId id="2147483674" r:id="rId13"/>
    <p:sldLayoutId id="2147483675" r:id="rId14"/>
    <p:sldLayoutId id="2147483676" r:id="rId15"/>
    <p:sldLayoutId id="2147483677" r:id="rId16"/>
    <p:sldLayoutId id="2147483680" r:id="rId17"/>
    <p:sldLayoutId id="2147483678" r:id="rId18"/>
    <p:sldLayoutId id="2147483679" r:id="rId19"/>
    <p:sldLayoutId id="2147483681" r:id="rId20"/>
    <p:sldLayoutId id="2147483654" r:id="rId21"/>
    <p:sldLayoutId id="2147483669" r:id="rId22"/>
    <p:sldLayoutId id="2147483655" r:id="rId23"/>
    <p:sldLayoutId id="2147483663" r:id="rId24"/>
    <p:sldLayoutId id="2147483664" r:id="rId25"/>
    <p:sldLayoutId id="2147483665" r:id="rId26"/>
    <p:sldLayoutId id="2147483666" r:id="rId27"/>
    <p:sldLayoutId id="2147483667" r:id="rId28"/>
    <p:sldLayoutId id="2147483668" r:id="rId29"/>
  </p:sldLayoutIdLst>
  <p:hf hdr="0" ft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20650" indent="-12065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1pPr>
      <a:lvl2pPr marL="400050" indent="-12065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◦"/>
        <a:defRPr sz="900" kern="1200">
          <a:solidFill>
            <a:schemeClr val="tx1"/>
          </a:solidFill>
          <a:latin typeface="+mn-lt"/>
          <a:ea typeface="+mn-ea"/>
          <a:cs typeface="+mn-cs"/>
        </a:defRPr>
      </a:lvl2pPr>
      <a:lvl3pPr marL="630238" indent="-12065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◦"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896938" indent="-12065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◦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162050" indent="-120650" algn="l" defTabSz="914400" rtl="0" eaLnBrk="1" latinLnBrk="0" hangingPunct="1">
        <a:lnSpc>
          <a:spcPct val="100000"/>
        </a:lnSpc>
        <a:spcBef>
          <a:spcPts val="800"/>
        </a:spcBef>
        <a:buFont typeface="Arial" panose="020B0604020202020204" pitchFamily="34" charset="0"/>
        <a:buChar char="◦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3.xml"/><Relationship Id="rId5" Type="http://schemas.openxmlformats.org/officeDocument/2006/relationships/image" Target="../media/image31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33.png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4.xml"/><Relationship Id="rId6" Type="http://schemas.openxmlformats.org/officeDocument/2006/relationships/image" Target="../media/image3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7" Type="http://schemas.openxmlformats.org/officeDocument/2006/relationships/image" Target="../media/image36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5.xml"/><Relationship Id="rId6" Type="http://schemas.openxmlformats.org/officeDocument/2006/relationships/image" Target="../media/image34.png"/><Relationship Id="rId5" Type="http://schemas.openxmlformats.org/officeDocument/2006/relationships/image" Target="../media/image35.png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gif"/><Relationship Id="rId3" Type="http://schemas.openxmlformats.org/officeDocument/2006/relationships/oleObject" Target="../embeddings/oleObject5.bin"/><Relationship Id="rId7" Type="http://schemas.openxmlformats.org/officeDocument/2006/relationships/image" Target="../media/image39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.xml"/><Relationship Id="rId6" Type="http://schemas.openxmlformats.org/officeDocument/2006/relationships/image" Target="../media/image38.png"/><Relationship Id="rId11" Type="http://schemas.openxmlformats.org/officeDocument/2006/relationships/image" Target="../media/image43.png"/><Relationship Id="rId5" Type="http://schemas.openxmlformats.org/officeDocument/2006/relationships/image" Target="../media/image37.png"/><Relationship Id="rId10" Type="http://schemas.openxmlformats.org/officeDocument/2006/relationships/image" Target="../media/image42.gif"/><Relationship Id="rId4" Type="http://schemas.openxmlformats.org/officeDocument/2006/relationships/image" Target="../media/image1.emf"/><Relationship Id="rId9" Type="http://schemas.openxmlformats.org/officeDocument/2006/relationships/image" Target="../media/image4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7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microsoft.com/office/2018/10/relationships/comments" Target="../comments/modernComment_10C_E30F44E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8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9E8B56EC-7292-D1FD-439F-B85706CC218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4986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E8B56EC-7292-D1FD-439F-B85706CC218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EB808BFC-B71A-C9E5-5827-2A037647456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57" y="1110634"/>
            <a:ext cx="3702960" cy="664797"/>
          </a:xfrm>
        </p:spPr>
        <p:txBody>
          <a:bodyPr vert="horz" lIns="0" tIns="0" rIns="0" bIns="0" rtlCol="0" anchor="t">
            <a:normAutofit/>
          </a:bodyPr>
          <a:lstStyle/>
          <a:p>
            <a:pPr>
              <a:lnSpc>
                <a:spcPct val="90000"/>
              </a:lnSpc>
            </a:pPr>
            <a:r>
              <a:rPr lang="nb-NO" kern="1200">
                <a:latin typeface="+mj-lt"/>
                <a:ea typeface="+mj-ea"/>
                <a:cs typeface="+mj-cs"/>
              </a:rPr>
              <a:t>Strømprisindeksen </a:t>
            </a:r>
            <a:r>
              <a:rPr lang="nb-NO"/>
              <a:t>april 2024</a:t>
            </a:r>
            <a:endParaRPr lang="nb-NO" kern="1200">
              <a:latin typeface="+mj-lt"/>
              <a:ea typeface="+mj-ea"/>
              <a:cs typeface="+mj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1CD328A-FCBF-98DB-A3A2-36A13A7E9980}"/>
              </a:ext>
            </a:extLst>
          </p:cNvPr>
          <p:cNvSpPr txBox="1"/>
          <p:nvPr/>
        </p:nvSpPr>
        <p:spPr>
          <a:xfrm>
            <a:off x="457257" y="2081047"/>
            <a:ext cx="3702960" cy="2148053"/>
          </a:xfrm>
          <a:prstGeom prst="rect">
            <a:avLst/>
          </a:prstGeom>
        </p:spPr>
        <p:txBody>
          <a:bodyPr rot="0" spcFirstLastPara="0" vertOverflow="overflow" horzOverflow="overflow" vert="horz" lIns="0" tIns="0" rIns="0" bIns="0" numCol="1" spcCol="0" rtlCol="0" fromWordArt="0" anchor="t" anchorCtr="0" forceAA="0" compatLnSpc="1">
            <a:prstTxWarp prst="textNoShape">
              <a:avLst/>
            </a:prstTxWarp>
            <a:normAutofit/>
          </a:bodyPr>
          <a:lstStyle/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/>
              <a:t>Prisene falt ytterligere i april. I de sørlige prisområdene var de på det laveste nivået siden oktober.</a:t>
            </a: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/>
              <a:t>I de sørlige prisområdene fikk vi de laveste aprilprisene siden 2021.</a:t>
            </a: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/>
              <a:t>Prisene steg likevel mot slutten av måneden grunnet kaldt vær og lite vindkraftproduksjon.</a:t>
            </a: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/>
              <a:t>I Nord- og Midt-Norge falt prisene fra et relativt høyt nivå i mars. De er fortsatt litt høyere enn normalt for årstiden.</a:t>
            </a: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/>
              <a:t>Prisforskjellene innad i Norge holdt seg på et lavt nivå i april. </a:t>
            </a: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/>
              <a:t>April var nok en kald måned. Dette gjorde at forbruket økte i forhold til april 2023.</a:t>
            </a: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r>
              <a:rPr lang="nb-NO" sz="800"/>
              <a:t>I ingen av de norske prisområdene var månedsprisene høye nok i april til å nå terskelen for strømstøtte. Det ble likevel utbetalt strømstøtte for enkelte timer.</a:t>
            </a:r>
          </a:p>
          <a:p>
            <a:pPr marL="120650" indent="-120650" defTabSz="914400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nb-NO" sz="80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0AC8519B-310F-D2CA-BE3D-69752A6AE1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7257" y="4796968"/>
            <a:ext cx="2057400" cy="153888"/>
          </a:xfrm>
        </p:spPr>
        <p:txBody>
          <a:bodyPr vert="horz" lIns="0" tIns="0" rIns="0" bIns="0" rtlCol="0" anchor="ctr">
            <a:normAutofit/>
          </a:bodyPr>
          <a:lstStyle/>
          <a:p>
            <a:pPr>
              <a:spcAft>
                <a:spcPts val="600"/>
              </a:spcAft>
            </a:pPr>
            <a:fld id="{20EE8A8A-9F66-4500-8547-91D11C77B4B7}" type="slidenum">
              <a:rPr lang="nb-NO" smtClean="0"/>
              <a:pPr>
                <a:spcAft>
                  <a:spcPts val="600"/>
                </a:spcAft>
              </a:pPr>
              <a:t>1</a:t>
            </a:fld>
            <a:endParaRPr lang="nb-NO"/>
          </a:p>
        </p:txBody>
      </p:sp>
      <p:sp>
        <p:nvSpPr>
          <p:cNvPr id="6" name="Plassholder for dato 5">
            <a:extLst>
              <a:ext uri="{FF2B5EF4-FFF2-40B4-BE49-F238E27FC236}">
                <a16:creationId xmlns:a16="http://schemas.microsoft.com/office/drawing/2014/main" id="{6068879A-59D1-FF84-F087-3EEB8BFDFA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nb-NO"/>
              <a:t>Oslo, dd.mm.yyyy</a:t>
            </a:r>
          </a:p>
        </p:txBody>
      </p:sp>
      <p:pic>
        <p:nvPicPr>
          <p:cNvPr id="8" name="Bilde 7">
            <a:extLst>
              <a:ext uri="{FF2B5EF4-FFF2-40B4-BE49-F238E27FC236}">
                <a16:creationId xmlns:a16="http://schemas.microsoft.com/office/drawing/2014/main" id="{8024784E-B6AC-28D7-0AB0-ADE7E934E7A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541617" y="2392"/>
            <a:ext cx="4648432" cy="46527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97217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4079E723-2D8B-9E39-E93A-0F21F77BD22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48210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11" imgH="411" progId="TCLayout.ActiveDocument.1">
                  <p:embed/>
                </p:oleObj>
              </mc:Choice>
              <mc:Fallback>
                <p:oleObj name="think-cell Slide" r:id="rId4" imgW="411" imgH="411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079E723-2D8B-9E39-E93A-0F21F77BD2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4787122A-4536-2BFE-134B-7186FF3A34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</a:t>
            </a:r>
            <a:r>
              <a:rPr lang="nb-NO" err="1"/>
              <a:t>dd.mm.yyyy</a:t>
            </a:r>
            <a:endParaRPr lang="nb-NO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0EB152C5-D1F6-A0FC-C7BA-61454D2120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2</a:t>
            </a:fld>
            <a:endParaRPr lang="nb-NO"/>
          </a:p>
        </p:txBody>
      </p:sp>
      <p:sp>
        <p:nvSpPr>
          <p:cNvPr id="11" name="Tittel 1">
            <a:extLst>
              <a:ext uri="{FF2B5EF4-FFF2-40B4-BE49-F238E27FC236}">
                <a16:creationId xmlns:a16="http://schemas.microsoft.com/office/drawing/2014/main" id="{C9D230B1-551A-0E7A-96AB-ADE59A9067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1920" y="276847"/>
            <a:ext cx="5980160" cy="494406"/>
          </a:xfrm>
        </p:spPr>
        <p:txBody>
          <a:bodyPr vert="horz"/>
          <a:lstStyle/>
          <a:p>
            <a:r>
              <a:rPr lang="nb-NO">
                <a:solidFill>
                  <a:schemeClr val="accent5">
                    <a:lumMod val="75000"/>
                  </a:schemeClr>
                </a:solidFill>
                <a:cs typeface="Arial"/>
              </a:rPr>
              <a:t>Sammenlikning mars-april</a:t>
            </a:r>
            <a:endParaRPr lang="nb-NO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5" name="TekstSylinder 14">
            <a:extLst>
              <a:ext uri="{FF2B5EF4-FFF2-40B4-BE49-F238E27FC236}">
                <a16:creationId xmlns:a16="http://schemas.microsoft.com/office/drawing/2014/main" id="{04DCDA78-71F1-811A-A7B3-AF6C80100E58}"/>
              </a:ext>
            </a:extLst>
          </p:cNvPr>
          <p:cNvSpPr txBox="1"/>
          <p:nvPr/>
        </p:nvSpPr>
        <p:spPr>
          <a:xfrm>
            <a:off x="150019" y="729687"/>
            <a:ext cx="5022056" cy="507831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900">
                <a:solidFill>
                  <a:schemeClr val="accent2">
                    <a:lumMod val="50000"/>
                  </a:schemeClr>
                </a:solidFill>
              </a:rPr>
              <a:t>Over hele Norge falt strømprisene fra mars til april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900">
                <a:solidFill>
                  <a:schemeClr val="accent2">
                    <a:lumMod val="50000"/>
                  </a:schemeClr>
                </a:solidFill>
              </a:rPr>
              <a:t>Strømregningene er også blitt kraftig redusert. Dette skyldes både redusert forbruk og lavere strømpriser.</a:t>
            </a:r>
          </a:p>
        </p:txBody>
      </p:sp>
      <p:pic>
        <p:nvPicPr>
          <p:cNvPr id="19" name="Bilde 18">
            <a:extLst>
              <a:ext uri="{FF2B5EF4-FFF2-40B4-BE49-F238E27FC236}">
                <a16:creationId xmlns:a16="http://schemas.microsoft.com/office/drawing/2014/main" id="{48D81E10-A362-0BE0-5A29-09482A073F2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652086" y="1763430"/>
            <a:ext cx="2107398" cy="2821194"/>
          </a:xfrm>
          <a:prstGeom prst="rect">
            <a:avLst/>
          </a:prstGeom>
        </p:spPr>
      </p:pic>
      <p:sp>
        <p:nvSpPr>
          <p:cNvPr id="5" name="TekstSylinder 4">
            <a:extLst>
              <a:ext uri="{FF2B5EF4-FFF2-40B4-BE49-F238E27FC236}">
                <a16:creationId xmlns:a16="http://schemas.microsoft.com/office/drawing/2014/main" id="{1AB5B9F3-8F6E-FB63-4035-D0B61CCAA3FF}"/>
              </a:ext>
            </a:extLst>
          </p:cNvPr>
          <p:cNvSpPr txBox="1"/>
          <p:nvPr/>
        </p:nvSpPr>
        <p:spPr>
          <a:xfrm>
            <a:off x="774239" y="4743576"/>
            <a:ext cx="39712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i="1"/>
              <a:t>Tall er i norske kroner dersom ikke annet er oppgitt</a:t>
            </a:r>
          </a:p>
        </p:txBody>
      </p:sp>
      <p:pic>
        <p:nvPicPr>
          <p:cNvPr id="9" name="Picture 3">
            <a:extLst>
              <a:ext uri="{FF2B5EF4-FFF2-40B4-BE49-F238E27FC236}">
                <a16:creationId xmlns:a16="http://schemas.microsoft.com/office/drawing/2014/main" id="{D21B8C53-AA53-A852-4492-9BA4D601B04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20329" y="1262449"/>
            <a:ext cx="4196264" cy="3147197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F1209CBB-C9AB-BA6E-3FAE-5B8063D6E61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78766" y="1760032"/>
            <a:ext cx="2112476" cy="2827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43459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A0A2B6D-88E9-5295-3A1E-C5492963472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2330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A0A2B6D-88E9-5295-3A1E-C5492963472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4787122A-4536-2BFE-134B-7186FF3A34A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0EB152C5-D1F6-A0FC-C7BA-61454D2120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3</a:t>
            </a:fld>
            <a:endParaRPr lang="nb-NO"/>
          </a:p>
        </p:txBody>
      </p:sp>
      <p:sp>
        <p:nvSpPr>
          <p:cNvPr id="11" name="Tittel 1">
            <a:extLst>
              <a:ext uri="{FF2B5EF4-FFF2-40B4-BE49-F238E27FC236}">
                <a16:creationId xmlns:a16="http://schemas.microsoft.com/office/drawing/2014/main" id="{C9D230B1-551A-0E7A-96AB-ADE59A90675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5612" y="449868"/>
            <a:ext cx="5359586" cy="664797"/>
          </a:xfrm>
        </p:spPr>
        <p:txBody>
          <a:bodyPr vert="horz"/>
          <a:lstStyle/>
          <a:p>
            <a:r>
              <a:rPr lang="nb-NO">
                <a:solidFill>
                  <a:schemeClr val="accent5">
                    <a:lumMod val="75000"/>
                  </a:schemeClr>
                </a:solidFill>
                <a:cs typeface="Arial"/>
              </a:rPr>
              <a:t>Sammenligning april 2023-2024</a:t>
            </a:r>
            <a:endParaRPr lang="nb-NO">
              <a:solidFill>
                <a:schemeClr val="accent5">
                  <a:lumMod val="75000"/>
                </a:schemeClr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1FC70556-B41D-FA15-EDBD-21B7105AEC8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10665" y="1269083"/>
            <a:ext cx="4230180" cy="3172634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33A123B-CC7B-438C-45B1-FD90C4A986E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84075" y="1582884"/>
            <a:ext cx="2177669" cy="2915266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E247D54D-3951-79FF-87AE-26509570666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742530" y="1579372"/>
            <a:ext cx="2177668" cy="2922290"/>
          </a:xfrm>
          <a:prstGeom prst="rect">
            <a:avLst/>
          </a:prstGeom>
        </p:spPr>
      </p:pic>
      <p:sp>
        <p:nvSpPr>
          <p:cNvPr id="7" name="TekstSylinder 6">
            <a:extLst>
              <a:ext uri="{FF2B5EF4-FFF2-40B4-BE49-F238E27FC236}">
                <a16:creationId xmlns:a16="http://schemas.microsoft.com/office/drawing/2014/main" id="{A033AADF-D07F-262B-FDF8-3A80D13F93CB}"/>
              </a:ext>
            </a:extLst>
          </p:cNvPr>
          <p:cNvSpPr txBox="1"/>
          <p:nvPr/>
        </p:nvSpPr>
        <p:spPr>
          <a:xfrm>
            <a:off x="774239" y="4743576"/>
            <a:ext cx="39712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i="1">
                <a:solidFill>
                  <a:schemeClr val="bg1"/>
                </a:solidFill>
              </a:rPr>
              <a:t>Tall er i norske kroner dersom ikke annet er oppgitt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21531C8D-908F-3C5D-76AA-208A0DF8D559}"/>
              </a:ext>
            </a:extLst>
          </p:cNvPr>
          <p:cNvSpPr txBox="1"/>
          <p:nvPr/>
        </p:nvSpPr>
        <p:spPr>
          <a:xfrm>
            <a:off x="195380" y="916751"/>
            <a:ext cx="476081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>
                <a:solidFill>
                  <a:schemeClr val="accent1">
                    <a:lumMod val="60000"/>
                    <a:lumOff val="40000"/>
                  </a:schemeClr>
                </a:solidFill>
              </a:rPr>
              <a:t>I Sør-Norge var prisene i april nesten halvparten av prisene på samme tid i fjor. Årets aprilpris i Sør-Norge er den laveste siden 2021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>
                <a:solidFill>
                  <a:schemeClr val="accent1">
                    <a:lumMod val="60000"/>
                    <a:lumOff val="40000"/>
                  </a:schemeClr>
                </a:solidFill>
              </a:rPr>
              <a:t>Også i Midt-Norge er prisene betydelig lavere enn i fjor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>
                <a:solidFill>
                  <a:schemeClr val="accent1">
                    <a:lumMod val="60000"/>
                    <a:lumOff val="40000"/>
                  </a:schemeClr>
                </a:solidFill>
              </a:rPr>
              <a:t>I Nord-Norge har strømprisen steget noe grunnet lite nedbør og lite vann i magasinene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nb-NO" sz="800">
                <a:solidFill>
                  <a:schemeClr val="accent1">
                    <a:lumMod val="60000"/>
                    <a:lumOff val="40000"/>
                  </a:schemeClr>
                </a:solidFill>
              </a:rPr>
              <a:t>Strømregningene er omtrent på samme nivå som i fjor grunnet økt forbruk.</a:t>
            </a:r>
          </a:p>
        </p:txBody>
      </p:sp>
    </p:spTree>
    <p:extLst>
      <p:ext uri="{BB962C8B-B14F-4D97-AF65-F5344CB8AC3E}">
        <p14:creationId xmlns:p14="http://schemas.microsoft.com/office/powerpoint/2010/main" val="427501400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8E601A1A-2629-9E12-9DFE-9BDAC856ED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147498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E601A1A-2629-9E12-9DFE-9BDAC856ED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453928CA-7646-A487-8996-CE97A6275D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81775C7B-262E-DE67-74E1-4F51072BE2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4</a:t>
            </a:fld>
            <a:endParaRPr lang="nb-NO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BF121519-CDDC-1962-9CD6-6AAC2E69BF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Kraftutveksling</a:t>
            </a:r>
          </a:p>
        </p:txBody>
      </p:sp>
      <p:pic>
        <p:nvPicPr>
          <p:cNvPr id="12" name="Plassholder for innhold 11">
            <a:extLst>
              <a:ext uri="{FF2B5EF4-FFF2-40B4-BE49-F238E27FC236}">
                <a16:creationId xmlns:a16="http://schemas.microsoft.com/office/drawing/2014/main" id="{475A88D7-D294-62B2-8755-82110AB84DD1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096346" y="701624"/>
            <a:ext cx="2705555" cy="3865081"/>
          </a:xfrm>
        </p:spPr>
      </p:pic>
      <p:pic>
        <p:nvPicPr>
          <p:cNvPr id="10" name="Plassholder for innhold 9">
            <a:extLst>
              <a:ext uri="{FF2B5EF4-FFF2-40B4-BE49-F238E27FC236}">
                <a16:creationId xmlns:a16="http://schemas.microsoft.com/office/drawing/2014/main" id="{EDD2A1DB-03B4-A540-E2CF-68A1C96AF138}"/>
              </a:ext>
            </a:extLst>
          </p:cNvPr>
          <p:cNvPicPr>
            <a:picLocks noGrp="1" noChangeAspect="1"/>
          </p:cNvPicPr>
          <p:nvPr>
            <p:ph idx="14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175508" y="701624"/>
            <a:ext cx="2920838" cy="3865081"/>
          </a:xfrm>
          <a:prstGeom prst="rect">
            <a:avLst/>
          </a:prstGeom>
        </p:spPr>
      </p:pic>
      <p:sp>
        <p:nvSpPr>
          <p:cNvPr id="13" name="TekstSylinder 12">
            <a:extLst>
              <a:ext uri="{FF2B5EF4-FFF2-40B4-BE49-F238E27FC236}">
                <a16:creationId xmlns:a16="http://schemas.microsoft.com/office/drawing/2014/main" id="{D3816D81-2F0C-5C31-0215-8B391B6646ED}"/>
              </a:ext>
            </a:extLst>
          </p:cNvPr>
          <p:cNvSpPr txBox="1"/>
          <p:nvPr/>
        </p:nvSpPr>
        <p:spPr>
          <a:xfrm>
            <a:off x="457257" y="1657350"/>
            <a:ext cx="2718251" cy="12772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/>
              <a:t>I april har vi hatt svak nettoimport av strøm fra Sverige, og svak nettoeksport til Nederland, Tyskland, Danmark og Storbritannia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100"/>
              <a:t>I sum eksporterte vi ca. 1,1 </a:t>
            </a:r>
            <a:r>
              <a:rPr lang="nb-NO" sz="1100" err="1"/>
              <a:t>TWh</a:t>
            </a:r>
            <a:r>
              <a:rPr lang="nb-NO" sz="1100"/>
              <a:t> med strøm i april.</a:t>
            </a:r>
          </a:p>
        </p:txBody>
      </p:sp>
      <p:pic>
        <p:nvPicPr>
          <p:cNvPr id="1026" name="Picture 2" descr="Danmarks flagg og våpen – Store norske leksikon">
            <a:extLst>
              <a:ext uri="{FF2B5EF4-FFF2-40B4-BE49-F238E27FC236}">
                <a16:creationId xmlns:a16="http://schemas.microsoft.com/office/drawing/2014/main" id="{A3000F04-E780-98BA-A9F5-FBB1AD330F2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35117" y="3314679"/>
            <a:ext cx="402866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Sveriges flagg og våpen – Store norske leksikon">
            <a:extLst>
              <a:ext uri="{FF2B5EF4-FFF2-40B4-BE49-F238E27FC236}">
                <a16:creationId xmlns:a16="http://schemas.microsoft.com/office/drawing/2014/main" id="{7BD95610-1C21-5E69-CD9D-A797BAA38B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18595" y="3611483"/>
            <a:ext cx="416984" cy="3484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Flag of the United Kingdom - Wikipedia">
            <a:extLst>
              <a:ext uri="{FF2B5EF4-FFF2-40B4-BE49-F238E27FC236}">
                <a16:creationId xmlns:a16="http://schemas.microsoft.com/office/drawing/2014/main" id="{ACF3AF7C-A2DE-81CC-E858-516CB40827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3711" y="3307559"/>
            <a:ext cx="427132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2" name="Picture 8" descr="Nederlands flagg og våpen – Store norske leksikon">
            <a:extLst>
              <a:ext uri="{FF2B5EF4-FFF2-40B4-BE49-F238E27FC236}">
                <a16:creationId xmlns:a16="http://schemas.microsoft.com/office/drawing/2014/main" id="{8EF0B950-C72C-D5A3-948A-06A2609A5B9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8976" y="3286798"/>
            <a:ext cx="416983" cy="317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4" name="Picture 10" descr="Tysklands flagg og våpen – Store norske leksikon">
            <a:extLst>
              <a:ext uri="{FF2B5EF4-FFF2-40B4-BE49-F238E27FC236}">
                <a16:creationId xmlns:a16="http://schemas.microsoft.com/office/drawing/2014/main" id="{93E8EE5C-F00F-9D19-55F8-6D26C925544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4799" y="3306683"/>
            <a:ext cx="392372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4006645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F357CBFE-67B8-6958-F926-F7EF5569B0E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678381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11" imgH="411" progId="TCLayout.ActiveDocument.1">
                  <p:embed/>
                </p:oleObj>
              </mc:Choice>
              <mc:Fallback>
                <p:oleObj name="think-cell Slide" r:id="rId5" imgW="411" imgH="411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357CBFE-67B8-6958-F926-F7EF5569B0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29A5425B-7AF1-1FCB-F05D-DEFBAC60788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0" y="0"/>
            <a:ext cx="5438103" cy="4657748"/>
          </a:xfrm>
          <a:ln>
            <a:noFill/>
          </a:ln>
        </p:spPr>
        <p:txBody>
          <a:bodyPr/>
          <a:lstStyle/>
          <a:p>
            <a:endParaRPr lang="en-US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94EAE05A-F727-0685-6F86-2AD507987A7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457257" y="4796968"/>
            <a:ext cx="2057400" cy="153888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20EE8A8A-9F66-4500-8547-91D11C77B4B7}" type="slidenum">
              <a:rPr lang="nb-NO" smtClean="0"/>
              <a:pPr>
                <a:spcAft>
                  <a:spcPts val="600"/>
                </a:spcAft>
              </a:pPr>
              <a:t>5</a:t>
            </a:fld>
            <a:endParaRPr lang="nb-NO"/>
          </a:p>
        </p:txBody>
      </p:sp>
      <p:sp>
        <p:nvSpPr>
          <p:cNvPr id="27" name="Title 5">
            <a:extLst>
              <a:ext uri="{FF2B5EF4-FFF2-40B4-BE49-F238E27FC236}">
                <a16:creationId xmlns:a16="http://schemas.microsoft.com/office/drawing/2014/main" id="{D4479EF9-3012-3964-A9D0-6C16A3C051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6803" y="398513"/>
            <a:ext cx="5774034" cy="664797"/>
          </a:xfrm>
        </p:spPr>
        <p:txBody>
          <a:bodyPr vert="horz"/>
          <a:lstStyle/>
          <a:p>
            <a:r>
              <a:rPr lang="nb-NO">
                <a:cs typeface="Arial"/>
              </a:rPr>
              <a:t>Hva forklarer strømprisene i april?</a:t>
            </a:r>
            <a:endParaRPr lang="nb-NO"/>
          </a:p>
        </p:txBody>
      </p:sp>
      <p:sp>
        <p:nvSpPr>
          <p:cNvPr id="6" name="Plassholder for dato 5">
            <a:extLst>
              <a:ext uri="{FF2B5EF4-FFF2-40B4-BE49-F238E27FC236}">
                <a16:creationId xmlns:a16="http://schemas.microsoft.com/office/drawing/2014/main" id="{2598B32B-A883-0F3D-57FD-5F9BDF19C4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r>
              <a:rPr lang="nb-NO"/>
              <a:t>Oslo, dd.mm.yyyy</a:t>
            </a:r>
          </a:p>
        </p:txBody>
      </p:sp>
      <p:sp>
        <p:nvSpPr>
          <p:cNvPr id="3" name="TekstSylinder 2">
            <a:extLst>
              <a:ext uri="{FF2B5EF4-FFF2-40B4-BE49-F238E27FC236}">
                <a16:creationId xmlns:a16="http://schemas.microsoft.com/office/drawing/2014/main" id="{8A3EFEB1-D7F7-A46E-7DED-AE462CEAB1A0}"/>
              </a:ext>
            </a:extLst>
          </p:cNvPr>
          <p:cNvSpPr txBox="1"/>
          <p:nvPr/>
        </p:nvSpPr>
        <p:spPr>
          <a:xfrm>
            <a:off x="282091" y="974471"/>
            <a:ext cx="4000459" cy="3729098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b-NO" sz="1200" b="1" kern="100">
                <a:effectLst/>
                <a:ea typeface="Calibri"/>
                <a:cs typeface="Arial"/>
              </a:rPr>
              <a:t>Store prisvariasjoner i april</a:t>
            </a:r>
            <a:endParaRPr lang="nb-NO" sz="1200" b="1" kern="100">
              <a:ea typeface="Calibri"/>
              <a:cs typeface="Arial"/>
            </a:endParaRP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000" kern="100">
                <a:ea typeface="Calibri"/>
                <a:cs typeface="Arial"/>
              </a:rPr>
              <a:t>I april fikk vi for første gang i år negative priser i Norge. På sitt laveste gikk prisen ned til -37 øre/</a:t>
            </a:r>
            <a:r>
              <a:rPr lang="nb-NO" sz="1000" kern="100" err="1">
                <a:ea typeface="Calibri"/>
                <a:cs typeface="Arial"/>
              </a:rPr>
              <a:t>kwh</a:t>
            </a:r>
            <a:r>
              <a:rPr lang="nb-NO" sz="1000" kern="100">
                <a:ea typeface="Calibri"/>
                <a:cs typeface="Arial"/>
              </a:rPr>
              <a:t>. Dette er den nest laveste timesprisen vi har hatt i Norge noensinne.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000" kern="100">
                <a:ea typeface="Calibri"/>
                <a:cs typeface="Arial"/>
              </a:rPr>
              <a:t>Mot slutten av måneden fikk vi imidlertid relativt høye priser i hele landet. Den 23. april var døgnprisen i NO1 den høyeste siden 8. februar.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000" kern="100">
                <a:effectLst/>
                <a:ea typeface="Calibri"/>
                <a:cs typeface="Arial"/>
              </a:rPr>
              <a:t>NO4 fikk den høyeste døgn</a:t>
            </a:r>
            <a:r>
              <a:rPr lang="nb-NO" sz="1000" kern="100">
                <a:ea typeface="Calibri"/>
                <a:cs typeface="Arial"/>
              </a:rPr>
              <a:t>prisen så langt i år den 24. april, grunnet lite vann i magasinene i nord. Det har aldri vært så lav fyllingsgrad i NO4. 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000" kern="100">
                <a:ea typeface="Calibri"/>
                <a:cs typeface="Arial"/>
              </a:rPr>
              <a:t>De høyere prisene skyldes bl.a. redusert kjernekraftproduksjon i Sverige og Finland. I tillegg fører mer </a:t>
            </a:r>
            <a:r>
              <a:rPr lang="nb-NO" sz="1000" kern="100" err="1">
                <a:ea typeface="Calibri"/>
                <a:cs typeface="Arial"/>
              </a:rPr>
              <a:t>uregulerbar</a:t>
            </a:r>
            <a:r>
              <a:rPr lang="nb-NO" sz="1000" kern="100">
                <a:ea typeface="Calibri"/>
                <a:cs typeface="Arial"/>
              </a:rPr>
              <a:t> produksjon til større variasjon.</a:t>
            </a:r>
            <a:r>
              <a:rPr lang="nb-NO" sz="1000" kern="100">
                <a:effectLst/>
                <a:ea typeface="Calibri"/>
                <a:cs typeface="Arial"/>
              </a:rPr>
              <a:t> Mer vindkraft fører til lavere priser, mens prisene stiger når det ikke blåser.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000" kern="100">
                <a:ea typeface="Calibri"/>
                <a:cs typeface="Arial"/>
              </a:rPr>
              <a:t>Det er ofte stor variasjon i strømprisene på våren, når magasinfyllingen er på sitt laveste etter en kald vinter. Prisene begynner å falle når snøsmeltingen starter, og det blir mer vann i magasinene.</a:t>
            </a:r>
            <a:endParaRPr lang="nb-NO" sz="1000" kern="100">
              <a:effectLst/>
              <a:ea typeface="Calibri"/>
              <a:cs typeface="Arial"/>
            </a:endParaRPr>
          </a:p>
        </p:txBody>
      </p:sp>
      <p:sp>
        <p:nvSpPr>
          <p:cNvPr id="2" name="TekstSylinder 1">
            <a:extLst>
              <a:ext uri="{FF2B5EF4-FFF2-40B4-BE49-F238E27FC236}">
                <a16:creationId xmlns:a16="http://schemas.microsoft.com/office/drawing/2014/main" id="{66C22A9D-07FF-93EC-D1C3-082D18FF3201}"/>
              </a:ext>
            </a:extLst>
          </p:cNvPr>
          <p:cNvSpPr txBox="1"/>
          <p:nvPr/>
        </p:nvSpPr>
        <p:spPr>
          <a:xfrm>
            <a:off x="4282550" y="933403"/>
            <a:ext cx="4763555" cy="3795334"/>
          </a:xfrm>
          <a:prstGeom prst="rect">
            <a:avLst/>
          </a:prstGeom>
          <a:noFill/>
          <a:ln>
            <a:noFill/>
          </a:ln>
        </p:spPr>
        <p:txBody>
          <a:bodyPr wrap="square" lIns="91440" tIns="45720" rIns="91440" bIns="45720" rtlCol="0" anchor="t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nb-NO" sz="1200" b="1" kern="100" err="1">
                <a:effectLst/>
                <a:ea typeface="Calibri"/>
                <a:cs typeface="Arial"/>
              </a:rPr>
              <a:t>Snøsmeltesesong</a:t>
            </a:r>
            <a:endParaRPr lang="nb-NO" sz="1200" b="1" kern="100">
              <a:ea typeface="Calibri"/>
              <a:cs typeface="Arial"/>
            </a:endParaRP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000" kern="100">
                <a:ea typeface="Calibri"/>
                <a:cs typeface="Arial"/>
              </a:rPr>
              <a:t>Det er ofte stor snøsmelting i slutten av april og i mai, og det fører til at det blir høyere uregulert vannkraftproduksjon og mer vann i vannmagasinene. 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000" kern="100">
                <a:ea typeface="Calibri"/>
                <a:cs typeface="Arial"/>
              </a:rPr>
              <a:t>Vannkraftprodusentene forvalter vannressursene bevisst slik at det er lite vann i magasinene når snøsmeltingen begynner. Dermed kan de lagre mest mulig vann til neste vinter, og samtidig bidra til å redusere faren for flom når snøsmeltingen kommer i gang for fullt.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000" kern="100">
                <a:ea typeface="Calibri"/>
                <a:cs typeface="Arial"/>
              </a:rPr>
              <a:t>Vinteren i år har vært kald, noe som har ført til høyt strømforbruk. Fyllingsgraden i norske vannmagasiner er derfor nå under normalen.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000" kern="100">
                <a:effectLst/>
                <a:ea typeface="Calibri"/>
                <a:cs typeface="Arial"/>
              </a:rPr>
              <a:t>Mengden van</a:t>
            </a:r>
            <a:r>
              <a:rPr lang="nb-NO" sz="1000" kern="100">
                <a:ea typeface="Calibri"/>
                <a:cs typeface="Arial"/>
              </a:rPr>
              <a:t>n i norske magasiner er en av de viktigste faktorene som påvirker norske strømpriser.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000" kern="100">
                <a:ea typeface="Calibri"/>
                <a:cs typeface="Arial"/>
              </a:rPr>
              <a:t>I år er det mer snø enn normalt i Sør-Norge. Akkurat når snøsmeltingen starter for fullt vil derfor ha stor betydning for strømprisene de neste ukene.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000" kern="100">
                <a:ea typeface="Calibri"/>
                <a:cs typeface="Arial"/>
              </a:rPr>
              <a:t>Mye snø gir ofte utslag i lave priser ettersom mange norske vannmagasiner ikke er dimensjonert for å kunne lagre alt vannet som kommer på våren og sommeren. I tillegg er det flere vannkraftverk som ikke har magasin i det hele tatt (såkalte elvekraftverk).</a:t>
            </a:r>
          </a:p>
          <a:p>
            <a:pPr marL="17145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nb-NO" sz="1000" kern="100">
                <a:effectLst/>
                <a:ea typeface="Calibri"/>
                <a:cs typeface="Arial"/>
              </a:rPr>
              <a:t>I Nord-Norge er det lite snø i fjellene.</a:t>
            </a:r>
          </a:p>
        </p:txBody>
      </p:sp>
    </p:spTree>
    <p:extLst>
      <p:ext uri="{BB962C8B-B14F-4D97-AF65-F5344CB8AC3E}">
        <p14:creationId xmlns:p14="http://schemas.microsoft.com/office/powerpoint/2010/main" val="3809428704"/>
      </p:ext>
    </p:extLst>
  </p:cSld>
  <p:clrMapOvr>
    <a:masterClrMapping/>
  </p:clrMapOvr>
  <p:extLst>
    <p:ext uri="{6950BFC3-D8DA-4A85-94F7-54DA5524770B}">
      <p188:commentRel xmlns:p188="http://schemas.microsoft.com/office/powerpoint/2018/8/main" r:id="rId4"/>
    </p:ext>
  </p:extLs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4457FE68-9AD6-C6A4-DF08-975433BCF2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Utviklingen fremover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4502D30A-3FAE-781C-EE25-B4A797F3836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57256" y="1806206"/>
            <a:ext cx="4030400" cy="2737307"/>
          </a:xfrm>
          <a:ln>
            <a:noFill/>
          </a:ln>
        </p:spPr>
        <p:txBody>
          <a:bodyPr vert="horz" lIns="0" tIns="0" rIns="0" bIns="0" rtlCol="0" anchor="t">
            <a:normAutofit/>
          </a:bodyPr>
          <a:lstStyle/>
          <a:p>
            <a:endParaRPr lang="nb-NO" sz="1000">
              <a:cs typeface="Arial"/>
            </a:endParaRPr>
          </a:p>
          <a:p>
            <a:pPr lvl="1"/>
            <a:endParaRPr lang="nb-NO"/>
          </a:p>
          <a:p>
            <a:endParaRPr lang="nb-NO"/>
          </a:p>
        </p:txBody>
      </p:sp>
      <p:sp>
        <p:nvSpPr>
          <p:cNvPr id="6" name="Plassholder for dato 5">
            <a:extLst>
              <a:ext uri="{FF2B5EF4-FFF2-40B4-BE49-F238E27FC236}">
                <a16:creationId xmlns:a16="http://schemas.microsoft.com/office/drawing/2014/main" id="{069DBE61-8E0F-73A1-15C4-6F6A92217E3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8E333035-272F-954D-1DE2-3EA90053F9C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6</a:t>
            </a:fld>
            <a:endParaRPr lang="nb-NO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2B670F3-F503-EDCF-4447-49EB9200B55E}"/>
              </a:ext>
            </a:extLst>
          </p:cNvPr>
          <p:cNvSpPr txBox="1"/>
          <p:nvPr/>
        </p:nvSpPr>
        <p:spPr>
          <a:xfrm>
            <a:off x="458782" y="1646322"/>
            <a:ext cx="6462625" cy="169277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300">
                <a:cs typeface="Arial" panose="020B0604020202020204"/>
              </a:rPr>
              <a:t>Markedet forventer at strømprisene vil falle frem mot sommeren og høste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300">
                <a:cs typeface="Arial" panose="020B0604020202020204"/>
              </a:rPr>
              <a:t>Høyt strømforbruk i vinter har ført til at fyllingsgraden i norske magasiner er under normalnivået for årstiden, og lavere enn på samme tid i fjor. Samtidig er det mye snø i fjellet i Sør-Norge, slik at fyllingsgraden i magasinene her vil øke raskt når snøsmeltingen begynn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300">
                <a:cs typeface="Arial" panose="020B0604020202020204"/>
              </a:rPr>
              <a:t>I Nord-Norge er det for tiden lite snø. Om nedbøren uteblir også i sommer og høst kan man komme til å gå inn i neste vinter med en svært stram kraftsituasjon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nb-NO" sz="1300">
              <a:cs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414814883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hink-cell data - do not delete" hidden="1">
            <a:extLst>
              <a:ext uri="{FF2B5EF4-FFF2-40B4-BE49-F238E27FC236}">
                <a16:creationId xmlns:a16="http://schemas.microsoft.com/office/drawing/2014/main" id="{62D50B9E-CD09-2192-6C3B-95534AAE478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3886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11" imgH="411" progId="TCLayout.ActiveDocument.1">
                  <p:embed/>
                </p:oleObj>
              </mc:Choice>
              <mc:Fallback>
                <p:oleObj name="think-cell Slide" r:id="rId3" imgW="411" imgH="411" progId="TCLayout.ActiveDocument.1">
                  <p:embed/>
                  <p:pic>
                    <p:nvPicPr>
                      <p:cNvPr id="1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D50B9E-CD09-2192-6C3B-95534AAE47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>
            <a:extLst>
              <a:ext uri="{FF2B5EF4-FFF2-40B4-BE49-F238E27FC236}">
                <a16:creationId xmlns:a16="http://schemas.microsoft.com/office/drawing/2014/main" id="{5213922F-444B-9587-AFC4-5C4C6A8D8F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27423" y="426320"/>
            <a:ext cx="5777094" cy="494406"/>
          </a:xfrm>
        </p:spPr>
        <p:txBody>
          <a:bodyPr vert="horz"/>
          <a:lstStyle/>
          <a:p>
            <a:r>
              <a:rPr lang="nb-NO">
                <a:cs typeface="Arial"/>
              </a:rPr>
              <a:t>Vedlegg 1: Detaljert regning for mars</a:t>
            </a:r>
            <a:endParaRPr lang="nb-NO"/>
          </a:p>
        </p:txBody>
      </p:sp>
      <p:sp>
        <p:nvSpPr>
          <p:cNvPr id="7" name="Plassholder for dato 6">
            <a:extLst>
              <a:ext uri="{FF2B5EF4-FFF2-40B4-BE49-F238E27FC236}">
                <a16:creationId xmlns:a16="http://schemas.microsoft.com/office/drawing/2014/main" id="{B2C698D7-E915-EED2-0D1D-8D9A15B54C4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8" name="Plassholder for lysbildenummer 7">
            <a:extLst>
              <a:ext uri="{FF2B5EF4-FFF2-40B4-BE49-F238E27FC236}">
                <a16:creationId xmlns:a16="http://schemas.microsoft.com/office/drawing/2014/main" id="{9D0095D8-72B6-43FF-9307-B3808DE884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7</a:t>
            </a:fld>
            <a:endParaRPr lang="nb-NO"/>
          </a:p>
        </p:txBody>
      </p:sp>
      <p:sp>
        <p:nvSpPr>
          <p:cNvPr id="11" name="Speech Bubble: Rectangle 10">
            <a:extLst>
              <a:ext uri="{FF2B5EF4-FFF2-40B4-BE49-F238E27FC236}">
                <a16:creationId xmlns:a16="http://schemas.microsoft.com/office/drawing/2014/main" id="{08E89037-2C15-7BA4-E420-580B2668841D}"/>
              </a:ext>
            </a:extLst>
          </p:cNvPr>
          <p:cNvSpPr/>
          <p:nvPr/>
        </p:nvSpPr>
        <p:spPr>
          <a:xfrm>
            <a:off x="7249362" y="1260314"/>
            <a:ext cx="1566518" cy="619951"/>
          </a:xfrm>
          <a:prstGeom prst="wedgeRectCallout">
            <a:avLst>
              <a:gd name="adj1" fmla="val -65848"/>
              <a:gd name="adj2" fmla="val 28059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b-NO" sz="800">
                <a:cs typeface="Arial"/>
              </a:rPr>
              <a:t>Dette er hva kraftprodusentene får betalt for strømmen</a:t>
            </a:r>
          </a:p>
        </p:txBody>
      </p:sp>
      <p:sp>
        <p:nvSpPr>
          <p:cNvPr id="3" name="Snakkeboble: rektangel 2">
            <a:extLst>
              <a:ext uri="{FF2B5EF4-FFF2-40B4-BE49-F238E27FC236}">
                <a16:creationId xmlns:a16="http://schemas.microsoft.com/office/drawing/2014/main" id="{127DA9E0-2CEF-FE7D-6AE9-33C8E0D6BC4E}"/>
              </a:ext>
            </a:extLst>
          </p:cNvPr>
          <p:cNvSpPr/>
          <p:nvPr/>
        </p:nvSpPr>
        <p:spPr>
          <a:xfrm>
            <a:off x="7249362" y="2092659"/>
            <a:ext cx="1631164" cy="338904"/>
          </a:xfrm>
          <a:prstGeom prst="wedgeRectCallout">
            <a:avLst>
              <a:gd name="adj1" fmla="val -67674"/>
              <a:gd name="adj2" fmla="val 14253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800"/>
              <a:t>Dette er strømleverandørens påslag på strømregningen</a:t>
            </a:r>
          </a:p>
        </p:txBody>
      </p:sp>
      <p:sp>
        <p:nvSpPr>
          <p:cNvPr id="4" name="Speech Bubble: Rectangle 10">
            <a:extLst>
              <a:ext uri="{FF2B5EF4-FFF2-40B4-BE49-F238E27FC236}">
                <a16:creationId xmlns:a16="http://schemas.microsoft.com/office/drawing/2014/main" id="{113A1B97-60AB-A82D-7695-603B4FDE308B}"/>
              </a:ext>
            </a:extLst>
          </p:cNvPr>
          <p:cNvSpPr/>
          <p:nvPr/>
        </p:nvSpPr>
        <p:spPr>
          <a:xfrm>
            <a:off x="7249362" y="3324599"/>
            <a:ext cx="1566518" cy="529670"/>
          </a:xfrm>
          <a:prstGeom prst="wedgeRectCallout">
            <a:avLst>
              <a:gd name="adj1" fmla="val -72215"/>
              <a:gd name="adj2" fmla="val 5425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r>
              <a:rPr lang="nb-NO" sz="800">
                <a:cs typeface="Arial"/>
              </a:rPr>
              <a:t>Finnmark og deler av Troms har fritak for el-avgift</a:t>
            </a:r>
            <a:endParaRPr lang="nb-NO" sz="800"/>
          </a:p>
        </p:txBody>
      </p:sp>
      <p:sp>
        <p:nvSpPr>
          <p:cNvPr id="6" name="Speech Bubble: Rectangle 10">
            <a:extLst>
              <a:ext uri="{FF2B5EF4-FFF2-40B4-BE49-F238E27FC236}">
                <a16:creationId xmlns:a16="http://schemas.microsoft.com/office/drawing/2014/main" id="{43281BD6-61B8-4DBB-3558-178E91D04924}"/>
              </a:ext>
            </a:extLst>
          </p:cNvPr>
          <p:cNvSpPr/>
          <p:nvPr/>
        </p:nvSpPr>
        <p:spPr>
          <a:xfrm>
            <a:off x="7238094" y="2555875"/>
            <a:ext cx="1566518" cy="529670"/>
          </a:xfrm>
          <a:prstGeom prst="wedgeRectCallout">
            <a:avLst>
              <a:gd name="adj1" fmla="val -64127"/>
              <a:gd name="adj2" fmla="val -52311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800">
                <a:cs typeface="Arial"/>
              </a:rPr>
              <a:t>Dette går til nettselskapet for å bygge, drifte og vedlikeholde strømnettet</a:t>
            </a:r>
            <a:endParaRPr lang="nb-NO" sz="800"/>
          </a:p>
        </p:txBody>
      </p:sp>
      <p:sp>
        <p:nvSpPr>
          <p:cNvPr id="27" name="Snakkeboble: rektangel 26">
            <a:extLst>
              <a:ext uri="{FF2B5EF4-FFF2-40B4-BE49-F238E27FC236}">
                <a16:creationId xmlns:a16="http://schemas.microsoft.com/office/drawing/2014/main" id="{1D503F1E-631A-06BB-9FA6-AB5D4E68E9D8}"/>
              </a:ext>
            </a:extLst>
          </p:cNvPr>
          <p:cNvSpPr/>
          <p:nvPr/>
        </p:nvSpPr>
        <p:spPr>
          <a:xfrm>
            <a:off x="7249362" y="3897260"/>
            <a:ext cx="1631164" cy="338904"/>
          </a:xfrm>
          <a:prstGeom prst="wedgeRectCallout">
            <a:avLst>
              <a:gd name="adj1" fmla="val -71510"/>
              <a:gd name="adj2" fmla="val -14832"/>
            </a:avLst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800"/>
              <a:t>Nord-Norge har fritak for MVA på strøm</a:t>
            </a:r>
          </a:p>
        </p:txBody>
      </p:sp>
      <p:sp>
        <p:nvSpPr>
          <p:cNvPr id="9" name="TekstSylinder 8">
            <a:extLst>
              <a:ext uri="{FF2B5EF4-FFF2-40B4-BE49-F238E27FC236}">
                <a16:creationId xmlns:a16="http://schemas.microsoft.com/office/drawing/2014/main" id="{900DDBDD-1832-6A0C-F937-3CBEE583917D}"/>
              </a:ext>
            </a:extLst>
          </p:cNvPr>
          <p:cNvSpPr txBox="1"/>
          <p:nvPr/>
        </p:nvSpPr>
        <p:spPr>
          <a:xfrm>
            <a:off x="774239" y="4743576"/>
            <a:ext cx="3971299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i="1"/>
              <a:t>Tall er norske kroner der ikke annet er oppgitt</a:t>
            </a:r>
          </a:p>
        </p:txBody>
      </p:sp>
      <p:graphicFrame>
        <p:nvGraphicFramePr>
          <p:cNvPr id="5" name="Tabell 4">
            <a:extLst>
              <a:ext uri="{FF2B5EF4-FFF2-40B4-BE49-F238E27FC236}">
                <a16:creationId xmlns:a16="http://schemas.microsoft.com/office/drawing/2014/main" id="{131A36CF-B9F9-5E74-5113-847B2A062B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846650"/>
              </p:ext>
            </p:extLst>
          </p:nvPr>
        </p:nvGraphicFramePr>
        <p:xfrm>
          <a:off x="429298" y="920726"/>
          <a:ext cx="6617677" cy="3624975"/>
        </p:xfrm>
        <a:graphic>
          <a:graphicData uri="http://schemas.openxmlformats.org/drawingml/2006/table">
            <a:tbl>
              <a:tblPr>
                <a:tableStyleId>{D113A9D2-9D6B-4929-AA2D-F23B5EE8CBE7}</a:tableStyleId>
              </a:tblPr>
              <a:tblGrid>
                <a:gridCol w="1853572">
                  <a:extLst>
                    <a:ext uri="{9D8B030D-6E8A-4147-A177-3AD203B41FA5}">
                      <a16:colId xmlns:a16="http://schemas.microsoft.com/office/drawing/2014/main" val="326060879"/>
                    </a:ext>
                  </a:extLst>
                </a:gridCol>
                <a:gridCol w="952821">
                  <a:extLst>
                    <a:ext uri="{9D8B030D-6E8A-4147-A177-3AD203B41FA5}">
                      <a16:colId xmlns:a16="http://schemas.microsoft.com/office/drawing/2014/main" val="3174182623"/>
                    </a:ext>
                  </a:extLst>
                </a:gridCol>
                <a:gridCol w="952821">
                  <a:extLst>
                    <a:ext uri="{9D8B030D-6E8A-4147-A177-3AD203B41FA5}">
                      <a16:colId xmlns:a16="http://schemas.microsoft.com/office/drawing/2014/main" val="1771640016"/>
                    </a:ext>
                  </a:extLst>
                </a:gridCol>
                <a:gridCol w="952821">
                  <a:extLst>
                    <a:ext uri="{9D8B030D-6E8A-4147-A177-3AD203B41FA5}">
                      <a16:colId xmlns:a16="http://schemas.microsoft.com/office/drawing/2014/main" val="272322197"/>
                    </a:ext>
                  </a:extLst>
                </a:gridCol>
                <a:gridCol w="952821">
                  <a:extLst>
                    <a:ext uri="{9D8B030D-6E8A-4147-A177-3AD203B41FA5}">
                      <a16:colId xmlns:a16="http://schemas.microsoft.com/office/drawing/2014/main" val="1507347182"/>
                    </a:ext>
                  </a:extLst>
                </a:gridCol>
                <a:gridCol w="952821">
                  <a:extLst>
                    <a:ext uri="{9D8B030D-6E8A-4147-A177-3AD203B41FA5}">
                      <a16:colId xmlns:a16="http://schemas.microsoft.com/office/drawing/2014/main" val="822369757"/>
                    </a:ext>
                  </a:extLst>
                </a:gridCol>
              </a:tblGrid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Prisområde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1 apr 202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2 apr 202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3 apr 202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4 apr 202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</a:rPr>
                        <a:t>NO5 apr 202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87113781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Gjennomsnittlig forbruk (KWh)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19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23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29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81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20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68557116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rømregning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3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4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6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02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7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40793375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potpris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3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4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5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89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77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1305713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Fastpris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3582963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åslag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9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6875071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Nettleie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8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5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6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5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46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637911034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Energiledd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3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6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5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6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9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23613475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Kapasitetsledd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5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9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1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9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6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9165316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vgifter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6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9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1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1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59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14014550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el-avgift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97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0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1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29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9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00994715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ENOVA-avgift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10167528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MVA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5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7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8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0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86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3612692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Strømstøtte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-5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-5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-58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-41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-5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09063272"/>
                  </a:ext>
                </a:extLst>
              </a:tr>
              <a:tr h="241665">
                <a:tc>
                  <a:txBody>
                    <a:bodyPr/>
                    <a:lstStyle/>
                    <a:p>
                      <a:pPr algn="l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Totalt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719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834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882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853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1100" b="1" i="0" u="none" strike="noStrike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1875</a:t>
                      </a: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2881834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25443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C4156261-E1C9-2286-1892-F2CC3F37CA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Vedlegg 2: Detaljerte sammenligninger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C1C49259-E8DF-C4CD-6DCB-0BF59C94728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5" name="Plassholder for lysbildenummer 4">
            <a:extLst>
              <a:ext uri="{FF2B5EF4-FFF2-40B4-BE49-F238E27FC236}">
                <a16:creationId xmlns:a16="http://schemas.microsoft.com/office/drawing/2014/main" id="{4534897E-F465-C561-2DE7-E7BB40E3DC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8</a:t>
            </a:fld>
            <a:endParaRPr lang="nb-NO"/>
          </a:p>
        </p:txBody>
      </p:sp>
      <p:sp>
        <p:nvSpPr>
          <p:cNvPr id="11" name="TekstSylinder 10">
            <a:extLst>
              <a:ext uri="{FF2B5EF4-FFF2-40B4-BE49-F238E27FC236}">
                <a16:creationId xmlns:a16="http://schemas.microsoft.com/office/drawing/2014/main" id="{57A60D7B-702C-A706-64FD-CDEEDECD6266}"/>
              </a:ext>
            </a:extLst>
          </p:cNvPr>
          <p:cNvSpPr txBox="1"/>
          <p:nvPr/>
        </p:nvSpPr>
        <p:spPr>
          <a:xfrm>
            <a:off x="755121" y="4743107"/>
            <a:ext cx="8253046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100" i="1">
                <a:solidFill>
                  <a:schemeClr val="accent2">
                    <a:lumMod val="50000"/>
                  </a:schemeClr>
                </a:solidFill>
              </a:rPr>
              <a:t>Kun regningsposter som varierer fra måned til måned, tall er norske kroner der ikke annet er oppgitt</a:t>
            </a:r>
          </a:p>
        </p:txBody>
      </p:sp>
      <p:graphicFrame>
        <p:nvGraphicFramePr>
          <p:cNvPr id="3" name="Tabell 2">
            <a:extLst>
              <a:ext uri="{FF2B5EF4-FFF2-40B4-BE49-F238E27FC236}">
                <a16:creationId xmlns:a16="http://schemas.microsoft.com/office/drawing/2014/main" id="{C11B810A-CBB4-85BA-0F71-0E261F64A84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6725554"/>
              </p:ext>
            </p:extLst>
          </p:nvPr>
        </p:nvGraphicFramePr>
        <p:xfrm>
          <a:off x="101868" y="2441547"/>
          <a:ext cx="4413733" cy="1963045"/>
        </p:xfrm>
        <a:graphic>
          <a:graphicData uri="http://schemas.openxmlformats.org/drawingml/2006/table">
            <a:tbl>
              <a:tblPr>
                <a:tableStyleId>{8FD4443E-F989-4FC4-A0C8-D5A2AF1F390B}</a:tableStyleId>
              </a:tblPr>
              <a:tblGrid>
                <a:gridCol w="1240528">
                  <a:extLst>
                    <a:ext uri="{9D8B030D-6E8A-4147-A177-3AD203B41FA5}">
                      <a16:colId xmlns:a16="http://schemas.microsoft.com/office/drawing/2014/main" val="398113954"/>
                    </a:ext>
                  </a:extLst>
                </a:gridCol>
                <a:gridCol w="634641">
                  <a:extLst>
                    <a:ext uri="{9D8B030D-6E8A-4147-A177-3AD203B41FA5}">
                      <a16:colId xmlns:a16="http://schemas.microsoft.com/office/drawing/2014/main" val="277878131"/>
                    </a:ext>
                  </a:extLst>
                </a:gridCol>
                <a:gridCol w="634641">
                  <a:extLst>
                    <a:ext uri="{9D8B030D-6E8A-4147-A177-3AD203B41FA5}">
                      <a16:colId xmlns:a16="http://schemas.microsoft.com/office/drawing/2014/main" val="102597366"/>
                    </a:ext>
                  </a:extLst>
                </a:gridCol>
                <a:gridCol w="634641">
                  <a:extLst>
                    <a:ext uri="{9D8B030D-6E8A-4147-A177-3AD203B41FA5}">
                      <a16:colId xmlns:a16="http://schemas.microsoft.com/office/drawing/2014/main" val="3456256949"/>
                    </a:ext>
                  </a:extLst>
                </a:gridCol>
                <a:gridCol w="634641">
                  <a:extLst>
                    <a:ext uri="{9D8B030D-6E8A-4147-A177-3AD203B41FA5}">
                      <a16:colId xmlns:a16="http://schemas.microsoft.com/office/drawing/2014/main" val="1495612509"/>
                    </a:ext>
                  </a:extLst>
                </a:gridCol>
                <a:gridCol w="634641">
                  <a:extLst>
                    <a:ext uri="{9D8B030D-6E8A-4147-A177-3AD203B41FA5}">
                      <a16:colId xmlns:a16="http://schemas.microsoft.com/office/drawing/2014/main" val="3091635853"/>
                    </a:ext>
                  </a:extLst>
                </a:gridCol>
              </a:tblGrid>
              <a:tr h="213710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Mars 2024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NO1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NO2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NO3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NO4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NO5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7925184"/>
                  </a:ext>
                </a:extLst>
              </a:tr>
              <a:tr h="252121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Gjennomsnittlig forbruk (kWh)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1473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1488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1459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2046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1401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35676532"/>
                  </a:ext>
                </a:extLst>
              </a:tr>
              <a:tr h="213710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Strømregning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1121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1131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1013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1279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1081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19453057"/>
                  </a:ext>
                </a:extLst>
              </a:tr>
              <a:tr h="213710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Spotpris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1008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1016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900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1137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971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23490965"/>
                  </a:ext>
                </a:extLst>
              </a:tr>
              <a:tr h="213710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Nettleie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436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513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497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590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512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709865"/>
                  </a:ext>
                </a:extLst>
              </a:tr>
              <a:tr h="213710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Kapasitetsledd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152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195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211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291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u="none" strike="noStrike">
                          <a:solidFill>
                            <a:schemeClr val="tx1"/>
                          </a:solidFill>
                          <a:effectLst/>
                        </a:rPr>
                        <a:t>165</a:t>
                      </a:r>
                      <a:endParaRPr lang="nb-NO" sz="8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21310122"/>
                  </a:ext>
                </a:extLst>
              </a:tr>
              <a:tr h="213710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Avgifter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583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606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569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215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582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7965168"/>
                  </a:ext>
                </a:extLst>
              </a:tr>
              <a:tr h="213710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Strømstøtte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-67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-68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-44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-33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-52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4647847"/>
                  </a:ext>
                </a:extLst>
              </a:tr>
              <a:tr h="213710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Totalt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2073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2183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2034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2051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solidFill>
                            <a:schemeClr val="tx1"/>
                          </a:solidFill>
                          <a:effectLst/>
                        </a:rPr>
                        <a:t>2123</a:t>
                      </a:r>
                      <a:endParaRPr lang="nb-NO" sz="800" b="1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98931535"/>
                  </a:ext>
                </a:extLst>
              </a:tr>
            </a:tbl>
          </a:graphicData>
        </a:graphic>
      </p:graphicFrame>
      <p:graphicFrame>
        <p:nvGraphicFramePr>
          <p:cNvPr id="7" name="Tabell 6">
            <a:extLst>
              <a:ext uri="{FF2B5EF4-FFF2-40B4-BE49-F238E27FC236}">
                <a16:creationId xmlns:a16="http://schemas.microsoft.com/office/drawing/2014/main" id="{2706DAED-C870-5851-E0A8-73F89F01C77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1188066"/>
              </p:ext>
            </p:extLst>
          </p:nvPr>
        </p:nvGraphicFramePr>
        <p:xfrm>
          <a:off x="4524584" y="107033"/>
          <a:ext cx="4404748" cy="2334513"/>
        </p:xfrm>
        <a:graphic>
          <a:graphicData uri="http://schemas.openxmlformats.org/drawingml/2006/table">
            <a:tbl>
              <a:tblPr>
                <a:tableStyleId>{125E5076-3810-47DD-B79F-674D7AD40C01}</a:tableStyleId>
              </a:tblPr>
              <a:tblGrid>
                <a:gridCol w="1346573">
                  <a:extLst>
                    <a:ext uri="{9D8B030D-6E8A-4147-A177-3AD203B41FA5}">
                      <a16:colId xmlns:a16="http://schemas.microsoft.com/office/drawing/2014/main" val="2285680509"/>
                    </a:ext>
                  </a:extLst>
                </a:gridCol>
                <a:gridCol w="611635">
                  <a:extLst>
                    <a:ext uri="{9D8B030D-6E8A-4147-A177-3AD203B41FA5}">
                      <a16:colId xmlns:a16="http://schemas.microsoft.com/office/drawing/2014/main" val="1610842207"/>
                    </a:ext>
                  </a:extLst>
                </a:gridCol>
                <a:gridCol w="611635">
                  <a:extLst>
                    <a:ext uri="{9D8B030D-6E8A-4147-A177-3AD203B41FA5}">
                      <a16:colId xmlns:a16="http://schemas.microsoft.com/office/drawing/2014/main" val="4248039578"/>
                    </a:ext>
                  </a:extLst>
                </a:gridCol>
                <a:gridCol w="611635">
                  <a:extLst>
                    <a:ext uri="{9D8B030D-6E8A-4147-A177-3AD203B41FA5}">
                      <a16:colId xmlns:a16="http://schemas.microsoft.com/office/drawing/2014/main" val="2521345562"/>
                    </a:ext>
                  </a:extLst>
                </a:gridCol>
                <a:gridCol w="611635">
                  <a:extLst>
                    <a:ext uri="{9D8B030D-6E8A-4147-A177-3AD203B41FA5}">
                      <a16:colId xmlns:a16="http://schemas.microsoft.com/office/drawing/2014/main" val="698700821"/>
                    </a:ext>
                  </a:extLst>
                </a:gridCol>
                <a:gridCol w="611635">
                  <a:extLst>
                    <a:ext uri="{9D8B030D-6E8A-4147-A177-3AD203B41FA5}">
                      <a16:colId xmlns:a16="http://schemas.microsoft.com/office/drawing/2014/main" val="4110371051"/>
                    </a:ext>
                  </a:extLst>
                </a:gridCol>
              </a:tblGrid>
              <a:tr h="24879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pril 202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O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O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O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O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O5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86748608"/>
                  </a:ext>
                </a:extLst>
              </a:tr>
              <a:tr h="344145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Gjennomsnittlig forbruk (KWh)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13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14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22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68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08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995085994"/>
                  </a:ext>
                </a:extLst>
              </a:tr>
              <a:tr h="24879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trømregning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35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37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95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80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329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54818886"/>
                  </a:ext>
                </a:extLst>
              </a:tr>
              <a:tr h="24879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potpris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26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27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85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68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234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56624731"/>
                  </a:ext>
                </a:extLst>
              </a:tr>
              <a:tr h="24879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Nettlei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75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9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38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3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403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965584122"/>
                  </a:ext>
                </a:extLst>
              </a:tr>
              <a:tr h="24879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Kapasitetsledd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88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5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5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2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0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2833159982"/>
                  </a:ext>
                </a:extLst>
              </a:tr>
              <a:tr h="24879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Avgifter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17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4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9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284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531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059015495"/>
                  </a:ext>
                </a:extLst>
              </a:tr>
              <a:tr h="24879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Strømstøtte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522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52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-526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036073131"/>
                  </a:ext>
                </a:extLst>
              </a:tr>
              <a:tr h="248796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Totalt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629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783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936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531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i="0" u="none" strike="noStrike">
                          <a:solidFill>
                            <a:schemeClr val="tx1"/>
                          </a:solidFill>
                          <a:effectLst/>
                          <a:latin typeface="+mj-lt"/>
                        </a:rPr>
                        <a:t>1737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31657284"/>
                  </a:ext>
                </a:extLst>
              </a:tr>
            </a:tbl>
          </a:graphicData>
        </a:graphic>
      </p:graphicFrame>
      <p:graphicFrame>
        <p:nvGraphicFramePr>
          <p:cNvPr id="8" name="Tabell 7">
            <a:extLst>
              <a:ext uri="{FF2B5EF4-FFF2-40B4-BE49-F238E27FC236}">
                <a16:creationId xmlns:a16="http://schemas.microsoft.com/office/drawing/2014/main" id="{9D907BB4-9F15-FD3A-91D5-E60990E33F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4458094"/>
              </p:ext>
            </p:extLst>
          </p:nvPr>
        </p:nvGraphicFramePr>
        <p:xfrm>
          <a:off x="4515601" y="2441547"/>
          <a:ext cx="4413734" cy="1963338"/>
        </p:xfrm>
        <a:graphic>
          <a:graphicData uri="http://schemas.openxmlformats.org/drawingml/2006/table">
            <a:tbl>
              <a:tblPr>
                <a:tableStyleId>{125E5076-3810-47DD-B79F-674D7AD40C01}</a:tableStyleId>
              </a:tblPr>
              <a:tblGrid>
                <a:gridCol w="1231929">
                  <a:extLst>
                    <a:ext uri="{9D8B030D-6E8A-4147-A177-3AD203B41FA5}">
                      <a16:colId xmlns:a16="http://schemas.microsoft.com/office/drawing/2014/main" val="3027831866"/>
                    </a:ext>
                  </a:extLst>
                </a:gridCol>
                <a:gridCol w="636361">
                  <a:extLst>
                    <a:ext uri="{9D8B030D-6E8A-4147-A177-3AD203B41FA5}">
                      <a16:colId xmlns:a16="http://schemas.microsoft.com/office/drawing/2014/main" val="2328543017"/>
                    </a:ext>
                  </a:extLst>
                </a:gridCol>
                <a:gridCol w="636361">
                  <a:extLst>
                    <a:ext uri="{9D8B030D-6E8A-4147-A177-3AD203B41FA5}">
                      <a16:colId xmlns:a16="http://schemas.microsoft.com/office/drawing/2014/main" val="397941949"/>
                    </a:ext>
                  </a:extLst>
                </a:gridCol>
                <a:gridCol w="636361">
                  <a:extLst>
                    <a:ext uri="{9D8B030D-6E8A-4147-A177-3AD203B41FA5}">
                      <a16:colId xmlns:a16="http://schemas.microsoft.com/office/drawing/2014/main" val="3816131332"/>
                    </a:ext>
                  </a:extLst>
                </a:gridCol>
                <a:gridCol w="636361">
                  <a:extLst>
                    <a:ext uri="{9D8B030D-6E8A-4147-A177-3AD203B41FA5}">
                      <a16:colId xmlns:a16="http://schemas.microsoft.com/office/drawing/2014/main" val="3786850576"/>
                    </a:ext>
                  </a:extLst>
                </a:gridCol>
                <a:gridCol w="636361">
                  <a:extLst>
                    <a:ext uri="{9D8B030D-6E8A-4147-A177-3AD203B41FA5}">
                      <a16:colId xmlns:a16="http://schemas.microsoft.com/office/drawing/2014/main" val="2870141387"/>
                    </a:ext>
                  </a:extLst>
                </a:gridCol>
              </a:tblGrid>
              <a:tr h="250830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April 2024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1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2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3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4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O5</a:t>
                      </a:r>
                      <a:endParaRPr lang="nb-NO" sz="800" b="1" i="0" u="none" strike="noStrike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5692216"/>
                  </a:ext>
                </a:extLst>
              </a:tr>
              <a:tr h="253075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Gjennomsnittlig forbruk (KWh)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199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23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293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815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203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8692669"/>
                  </a:ext>
                </a:extLst>
              </a:tr>
              <a:tr h="208449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Strømregning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830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842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863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023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871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74866094"/>
                  </a:ext>
                </a:extLst>
              </a:tr>
              <a:tr h="208449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Spotpris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730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74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758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892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77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60641334"/>
                  </a:ext>
                </a:extLst>
              </a:tr>
              <a:tr h="208449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Nettleie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383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457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464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555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462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119006"/>
                  </a:ext>
                </a:extLst>
              </a:tr>
              <a:tr h="208449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u="none" strike="noStrike">
                          <a:effectLst/>
                        </a:rPr>
                        <a:t>Kapasitetsledd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52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95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1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291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u="none" strike="noStrike">
                          <a:effectLst/>
                        </a:rPr>
                        <a:t>165</a:t>
                      </a:r>
                      <a:endParaRPr lang="nb-NO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1905243"/>
                  </a:ext>
                </a:extLst>
              </a:tr>
              <a:tr h="208449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Avgifter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565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593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613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317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596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78645267"/>
                  </a:ext>
                </a:extLst>
              </a:tr>
              <a:tr h="208449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Strømstøtte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58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59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58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41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-54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073410955"/>
                  </a:ext>
                </a:extLst>
              </a:tr>
              <a:tr h="208449">
                <a:tc>
                  <a:txBody>
                    <a:bodyPr/>
                    <a:lstStyle/>
                    <a:p>
                      <a:pPr algn="l" fontAlgn="b"/>
                      <a:r>
                        <a:rPr lang="nb-NO" sz="800" b="1" u="none" strike="noStrike">
                          <a:effectLst/>
                        </a:rPr>
                        <a:t>Totalt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719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834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882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853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nb-NO" sz="800" b="1" u="none" strike="noStrike">
                          <a:effectLst/>
                        </a:rPr>
                        <a:t>1875</a:t>
                      </a:r>
                      <a:endParaRPr lang="nb-NO" sz="8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723088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16978086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11DC7983-AF56-DA6E-FD76-B992BE9530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nb-NO"/>
              <a:t>Oslo, dd.mm.yyyy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D8E7AAE4-9C48-F891-CECC-311D27CEB3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0EE8A8A-9F66-4500-8547-91D11C77B4B7}" type="slidenum">
              <a:rPr lang="nb-NO" smtClean="0"/>
              <a:pPr/>
              <a:t>9</a:t>
            </a:fld>
            <a:endParaRPr lang="nb-NO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E9729696-B0DE-A8A9-6827-7D49787D48E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Hva er strømprisindeksen?</a:t>
            </a:r>
          </a:p>
        </p:txBody>
      </p:sp>
      <p:sp>
        <p:nvSpPr>
          <p:cNvPr id="9" name="Plassholder for innhold 2">
            <a:extLst>
              <a:ext uri="{FF2B5EF4-FFF2-40B4-BE49-F238E27FC236}">
                <a16:creationId xmlns:a16="http://schemas.microsoft.com/office/drawing/2014/main" id="{B2E2DCC4-3775-3A0B-A70F-0A1A7ADFC6B2}"/>
              </a:ext>
            </a:extLst>
          </p:cNvPr>
          <p:cNvSpPr txBox="1">
            <a:spLocks/>
          </p:cNvSpPr>
          <p:nvPr/>
        </p:nvSpPr>
        <p:spPr>
          <a:xfrm>
            <a:off x="457257" y="1951308"/>
            <a:ext cx="5676565" cy="233933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1100" kern="100">
                <a:ea typeface="Calibri" panose="020F0502020204030204" pitchFamily="34" charset="0"/>
                <a:cs typeface="Times New Roman" panose="02020603050405020304" pitchFamily="18" charset="0"/>
              </a:rPr>
              <a:t>Fornybar Norges strømprisindeks viser hva en gjennomsnittlig husholdning i hvert av de fem norske prisområdene for strøm kan regne med å betale i strømregning, sammenliknet med forrige måned og samme måned forrige år. </a:t>
            </a:r>
          </a:p>
          <a:p>
            <a:pPr marL="285750" indent="-28575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1100" kern="100">
                <a:ea typeface="Calibri" panose="020F0502020204030204" pitchFamily="34" charset="0"/>
                <a:cs typeface="Times New Roman" panose="02020603050405020304" pitchFamily="18" charset="0"/>
              </a:rPr>
              <a:t>Regnestykket er basert på faktiske priser og gjennomsnittlig forbruk i de fem prisområdene, samt nettleie og avgifter. For strømpris er det tatt utgangspunkt i en vanlig spotprisavtale med et påslag på 5 øre/kWh og 40 kroner i fast månedsbeløp. Nettleie er basert på et vektet gjennomsnitt av prisene til de største nettselskapene i hvert prisområde. Tallene er innhentet fra Nord Pool, </a:t>
            </a:r>
            <a:r>
              <a:rPr lang="nb-NO" sz="1100" kern="100" err="1">
                <a:ea typeface="Calibri" panose="020F0502020204030204" pitchFamily="34" charset="0"/>
                <a:cs typeface="Times New Roman" panose="02020603050405020304" pitchFamily="18" charset="0"/>
              </a:rPr>
              <a:t>Elhub</a:t>
            </a:r>
            <a:r>
              <a:rPr lang="nb-NO" sz="1100" kern="100">
                <a:ea typeface="Calibri" panose="020F0502020204030204" pitchFamily="34" charset="0"/>
                <a:cs typeface="Times New Roman" panose="02020603050405020304" pitchFamily="18" charset="0"/>
              </a:rPr>
              <a:t> og nettselskapene. </a:t>
            </a:r>
          </a:p>
          <a:p>
            <a:pPr marL="285750" indent="-285750">
              <a:lnSpc>
                <a:spcPct val="107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1100" kern="100">
                <a:ea typeface="Calibri" panose="020F0502020204030204" pitchFamily="34" charset="0"/>
                <a:cs typeface="Times New Roman" panose="02020603050405020304" pitchFamily="18" charset="0"/>
              </a:rPr>
              <a:t>Hensikten med strømprisindeksen er å gi norske strømkunder bedre innsikt i hvordan strømprisene utvikler seg over tid, hva som påvirker dem og hvordan strømregningen er sammensatt.</a:t>
            </a:r>
          </a:p>
        </p:txBody>
      </p:sp>
    </p:spTree>
    <p:extLst>
      <p:ext uri="{BB962C8B-B14F-4D97-AF65-F5344CB8AC3E}">
        <p14:creationId xmlns:p14="http://schemas.microsoft.com/office/powerpoint/2010/main" val="20536688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8C00FC"/>
      </a:dk2>
      <a:lt2>
        <a:srgbClr val="E7E6E6"/>
      </a:lt2>
      <a:accent1>
        <a:srgbClr val="440185"/>
      </a:accent1>
      <a:accent2>
        <a:srgbClr val="E7CCFF"/>
      </a:accent2>
      <a:accent3>
        <a:srgbClr val="00583C"/>
      </a:accent3>
      <a:accent4>
        <a:srgbClr val="4BF0C5"/>
      </a:accent4>
      <a:accent5>
        <a:srgbClr val="8C00FC"/>
      </a:accent5>
      <a:accent6>
        <a:srgbClr val="7F7F7F"/>
      </a:accent6>
      <a:hlink>
        <a:srgbClr val="0563C1"/>
      </a:hlink>
      <a:folHlink>
        <a:srgbClr val="954F7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ornybar norge.potx" id="{CF955149-A45B-49C3-8711-FB8A3A82D5DB}" vid="{7748E326-CEB4-4244-8570-03EBA8BF589D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1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0D682D32-1B9D-400A-8463-203F70C35850}">
  <we:reference id="7606cf59-4db8-48a8-b0a0-8d865e20ba2f" version="2.0.0.0" store="\\JØRGEN-JOBB\Users\JørgenBye\Drammen kommune" storeType="Filesystem"/>
  <we:alternateReferences/>
  <we:properties/>
  <we:bindings/>
  <we:snapshot xmlns:r="http://schemas.openxmlformats.org/officeDocument/2006/relationships"/>
</we:webextension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haredContentType xmlns="Microsoft.SharePoint.Taxonomy.ContentTypeSync" SourceId="9119b49b-2cc3-444e-b755-8692f4554da6" ContentTypeId="0x0101" PreviousValue="false"/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A9BDB9F1F1BFE459CB1AB1E20AAA9DB" ma:contentTypeVersion="24" ma:contentTypeDescription="Create a new document." ma:contentTypeScope="" ma:versionID="69b2b7d33f6fe8682b1b41d28fba9b8c">
  <xsd:schema xmlns:xsd="http://www.w3.org/2001/XMLSchema" xmlns:xs="http://www.w3.org/2001/XMLSchema" xmlns:p="http://schemas.microsoft.com/office/2006/metadata/properties" xmlns:ns2="0f13f7a7-5a1c-4b07-a3f7-2a8c474a6703" xmlns:ns3="0f22a05a-b5e2-4bd8-b764-0ad6c193d339" xmlns:ns4="749ab8b6-ff35-4a4f-9f18-9cef83ce6420" targetNamespace="http://schemas.microsoft.com/office/2006/metadata/properties" ma:root="true" ma:fieldsID="af0812f9563710aa50e4a5bad36ec487" ns2:_="" ns3:_="" ns4:_="">
    <xsd:import namespace="0f13f7a7-5a1c-4b07-a3f7-2a8c474a6703"/>
    <xsd:import namespace="0f22a05a-b5e2-4bd8-b764-0ad6c193d339"/>
    <xsd:import namespace="749ab8b6-ff35-4a4f-9f18-9cef83ce6420"/>
    <xsd:element name="properties">
      <xsd:complexType>
        <xsd:sequence>
          <xsd:element name="documentManagement">
            <xsd:complexType>
              <xsd:all>
                <xsd:element ref="ns2:Dokumentdato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LengthInSeconds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4:TaxCatchAll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2:Saksbehandler" minOccurs="0"/>
                <xsd:element ref="ns2:Mottaker" minOccurs="0"/>
                <xsd:element ref="ns2:Avsender" minOccurs="0"/>
                <xsd:element ref="ns2:_Flow_SignoffStatus" minOccurs="0"/>
                <xsd:element ref="ns2:Status" minOccurs="0"/>
                <xsd:element ref="ns2:MediaServiceObjectDetectorVersions" minOccurs="0"/>
                <xsd:element ref="ns2:Produkt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13f7a7-5a1c-4b07-a3f7-2a8c474a6703" elementFormDefault="qualified">
    <xsd:import namespace="http://schemas.microsoft.com/office/2006/documentManagement/types"/>
    <xsd:import namespace="http://schemas.microsoft.com/office/infopath/2007/PartnerControls"/>
    <xsd:element name="Dokumentdato" ma:index="8" nillable="true" ma:displayName="Dokumentdato" ma:format="DateOnly" ma:internalName="Dokumentdato">
      <xsd:simpleType>
        <xsd:restriction base="dms:DateTime"/>
      </xsd:simpleType>
    </xsd:element>
    <xsd:element name="MediaServiceMetadata" ma:index="9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0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9119b49b-2cc3-444e-b755-8692f4554da6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GenerationTime" ma:index="18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9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21" nillable="true" ma:displayName="Location" ma:indexed="true" ma:internalName="MediaServiceLocation" ma:readOnly="true">
      <xsd:simpleType>
        <xsd:restriction base="dms:Text"/>
      </xsd:simpleType>
    </xsd:element>
    <xsd:element name="Saksbehandler" ma:index="22" nillable="true" ma:displayName="Saksbehandler" ma:format="Dropdown" ma:list="UserInfo" ma:SharePointGroup="0" ma:internalName="Saksbehandler">
      <xsd:complexType>
        <xsd:complexContent>
          <xsd:extension base="dms:User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Mottaker" ma:index="23" nillable="true" ma:displayName="Mottaker" ma:format="Dropdown" ma:indexed="true" ma:internalName="Mottaker">
      <xsd:simpleType>
        <xsd:restriction base="dms:Text">
          <xsd:maxLength value="255"/>
        </xsd:restriction>
      </xsd:simpleType>
    </xsd:element>
    <xsd:element name="Avsender" ma:index="24" nillable="true" ma:displayName="Avsender" ma:format="Dropdown" ma:internalName="Avsender">
      <xsd:simpleType>
        <xsd:restriction base="dms:Text">
          <xsd:maxLength value="255"/>
        </xsd:restriction>
      </xsd:simpleType>
    </xsd:element>
    <xsd:element name="_Flow_SignoffStatus" ma:index="25" nillable="true" ma:displayName="Sign-off status" ma:internalName="Sign_x002d_off_x0020_status">
      <xsd:simpleType>
        <xsd:restriction base="dms:Text"/>
      </xsd:simpleType>
    </xsd:element>
    <xsd:element name="Status" ma:index="26" nillable="true" ma:displayName="Status" ma:format="Dropdown" ma:internalName="Status">
      <xsd:simpleType>
        <xsd:restriction base="dms:Text">
          <xsd:maxLength value="255"/>
        </xsd:restriction>
      </xsd:simpleType>
    </xsd:element>
    <xsd:element name="MediaServiceObjectDetectorVersions" ma:index="27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Produkt" ma:index="28" nillable="true" ma:displayName="Produkt" ma:format="Dropdown" ma:internalName="Produkt">
      <xsd:simpleType>
        <xsd:restriction base="dms:Text">
          <xsd:maxLength value="255"/>
        </xsd:restriction>
      </xsd:simpleType>
    </xsd:element>
    <xsd:element name="MediaServiceSearchProperties" ma:index="2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f22a05a-b5e2-4bd8-b764-0ad6c193d339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4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49ab8b6-ff35-4a4f-9f18-9cef83ce6420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8b03620c-fac2-4011-801c-19735e004c3b}" ma:internalName="TaxCatchAll" ma:showField="CatchAllData" ma:web="0f22a05a-b5e2-4bd8-b764-0ad6c193d339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0f22a05a-b5e2-4bd8-b764-0ad6c193d339">
      <UserInfo>
        <DisplayName>Bård Standal</DisplayName>
        <AccountId>107</AccountId>
        <AccountType/>
      </UserInfo>
      <UserInfo>
        <DisplayName>Martin Ødegaard</DisplayName>
        <AccountId>93</AccountId>
        <AccountType/>
      </UserInfo>
      <UserInfo>
        <DisplayName>Aslak Øverås</DisplayName>
        <AccountId>29</AccountId>
        <AccountType/>
      </UserInfo>
      <UserInfo>
        <DisplayName>Sindre Sættem</DisplayName>
        <AccountId>54</AccountId>
        <AccountType/>
      </UserInfo>
      <UserInfo>
        <DisplayName>Camilla Vedeler</DisplayName>
        <AccountId>301</AccountId>
        <AccountType/>
      </UserInfo>
      <UserInfo>
        <DisplayName>Thor Egil Braadland</DisplayName>
        <AccountId>1058</AccountId>
        <AccountType/>
      </UserInfo>
      <UserInfo>
        <DisplayName>Iselin Ekeli Rønningsbakk</DisplayName>
        <AccountId>159</AccountId>
        <AccountType/>
      </UserInfo>
      <UserInfo>
        <DisplayName>Ingeborg Aarø</DisplayName>
        <AccountId>1762</AccountId>
        <AccountType/>
      </UserInfo>
    </SharedWithUsers>
    <Status xmlns="0f13f7a7-5a1c-4b07-a3f7-2a8c474a6703" xsi:nil="true"/>
    <Avsender xmlns="0f13f7a7-5a1c-4b07-a3f7-2a8c474a6703" xsi:nil="true"/>
    <TaxCatchAll xmlns="749ab8b6-ff35-4a4f-9f18-9cef83ce6420" xsi:nil="true"/>
    <Saksbehandler xmlns="0f13f7a7-5a1c-4b07-a3f7-2a8c474a6703">
      <UserInfo>
        <DisplayName/>
        <AccountId xsi:nil="true"/>
        <AccountType/>
      </UserInfo>
    </Saksbehandler>
    <Dokumentdato xmlns="0f13f7a7-5a1c-4b07-a3f7-2a8c474a6703" xsi:nil="true"/>
    <Produkt xmlns="0f13f7a7-5a1c-4b07-a3f7-2a8c474a6703" xsi:nil="true"/>
    <lcf76f155ced4ddcb4097134ff3c332f xmlns="0f13f7a7-5a1c-4b07-a3f7-2a8c474a6703">
      <Terms xmlns="http://schemas.microsoft.com/office/infopath/2007/PartnerControls"/>
    </lcf76f155ced4ddcb4097134ff3c332f>
    <_Flow_SignoffStatus xmlns="0f13f7a7-5a1c-4b07-a3f7-2a8c474a6703" xsi:nil="true"/>
    <Mottaker xmlns="0f13f7a7-5a1c-4b07-a3f7-2a8c474a6703" xsi:nil="true"/>
  </documentManagement>
</p:properties>
</file>

<file path=customXml/itemProps1.xml><?xml version="1.0" encoding="utf-8"?>
<ds:datastoreItem xmlns:ds="http://schemas.openxmlformats.org/officeDocument/2006/customXml" ds:itemID="{529AFC9C-0EF5-4D73-AC75-234BAC9ADE9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A46E27F-EC10-4651-9DBE-1F904980C632}">
  <ds:schemaRefs>
    <ds:schemaRef ds:uri="Microsoft.SharePoint.Taxonomy.ContentTypeSync"/>
  </ds:schemaRefs>
</ds:datastoreItem>
</file>

<file path=customXml/itemProps3.xml><?xml version="1.0" encoding="utf-8"?>
<ds:datastoreItem xmlns:ds="http://schemas.openxmlformats.org/officeDocument/2006/customXml" ds:itemID="{2BBDCEB5-B3D6-4B67-942C-2366984D6890}">
  <ds:schemaRefs>
    <ds:schemaRef ds:uri="0f13f7a7-5a1c-4b07-a3f7-2a8c474a6703"/>
    <ds:schemaRef ds:uri="0f22a05a-b5e2-4bd8-b764-0ad6c193d339"/>
    <ds:schemaRef ds:uri="749ab8b6-ff35-4a4f-9f18-9cef83ce642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4.xml><?xml version="1.0" encoding="utf-8"?>
<ds:datastoreItem xmlns:ds="http://schemas.openxmlformats.org/officeDocument/2006/customXml" ds:itemID="{D54E4824-219F-4E10-9EEA-EA03318A9FE2}">
  <ds:schemaRefs>
    <ds:schemaRef ds:uri="0f13f7a7-5a1c-4b07-a3f7-2a8c474a6703"/>
    <ds:schemaRef ds:uri="0f22a05a-b5e2-4bd8-b764-0ad6c193d339"/>
    <ds:schemaRef ds:uri="749ab8b6-ff35-4a4f-9f18-9cef83ce6420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Fornybar_Norge_PowerPointmal Fullversjon</Template>
  <Application>Microsoft Office PowerPoint</Application>
  <PresentationFormat>Custom</PresentationFormat>
  <Slides>9</Slides>
  <Notes>2</Notes>
  <HiddenSlides>0</HiddenSlide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0" baseType="lpstr">
      <vt:lpstr>Office-tema</vt:lpstr>
      <vt:lpstr>Strømprisindeksen april 2024</vt:lpstr>
      <vt:lpstr>Sammenlikning mars-april</vt:lpstr>
      <vt:lpstr>Sammenligning april 2023-2024</vt:lpstr>
      <vt:lpstr>Kraftutveksling</vt:lpstr>
      <vt:lpstr>Hva forklarer strømprisene i april?</vt:lpstr>
      <vt:lpstr>Utviklingen fremover</vt:lpstr>
      <vt:lpstr>Vedlegg 1: Detaljert regning for mars</vt:lpstr>
      <vt:lpstr>Vedlegg 2: Detaljerte sammenligninger</vt:lpstr>
      <vt:lpstr>Hva er strømprisindeksen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ømprisindeksen - oktober 2023</dc:title>
  <dc:creator>Camilla M. Granheim</dc:creator>
  <cp:revision>1</cp:revision>
  <dcterms:created xsi:type="dcterms:W3CDTF">2023-03-27T08:27:31Z</dcterms:created>
  <dcterms:modified xsi:type="dcterms:W3CDTF">2024-05-13T09:04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BA9BDB9F1F1BFE459CB1AB1E20AAA9DB</vt:lpwstr>
  </property>
  <property fmtid="{D5CDD505-2E9C-101B-9397-08002B2CF9AE}" pid="3" name="MediaServiceImageTags">
    <vt:lpwstr/>
  </property>
  <property fmtid="{D5CDD505-2E9C-101B-9397-08002B2CF9AE}" pid="4" name="ComplianceAssetId">
    <vt:lpwstr/>
  </property>
  <property fmtid="{D5CDD505-2E9C-101B-9397-08002B2CF9AE}" pid="5" name="_ExtendedDescription">
    <vt:lpwstr/>
  </property>
  <property fmtid="{D5CDD505-2E9C-101B-9397-08002B2CF9AE}" pid="6" name="_activity">
    <vt:lpwstr>{"FileActivityType":"11","FileActivityTimeStamp":"2023-11-06T14:19:37.493Z","FileActivityUsersOnPage":[{"DisplayName":"Iselin Ekeli Rønningsbakk","Id":"iselin.ronningsbakk@fornybarnorge.no"},{"DisplayName":"Lars Tennbakk Bockman","Id":"lars.bockman@fornybarnorge.no"}],"FileActivityNavigationId":null}</vt:lpwstr>
  </property>
  <property fmtid="{D5CDD505-2E9C-101B-9397-08002B2CF9AE}" pid="7" name="TriggerFlowInfo">
    <vt:lpwstr/>
  </property>
</Properties>
</file>